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0"/>
  </p:notesMasterIdLst>
  <p:sldIdLst>
    <p:sldId id="455" r:id="rId2"/>
    <p:sldId id="622" r:id="rId3"/>
    <p:sldId id="516" r:id="rId4"/>
    <p:sldId id="643" r:id="rId5"/>
    <p:sldId id="644" r:id="rId6"/>
    <p:sldId id="645" r:id="rId7"/>
    <p:sldId id="662" r:id="rId8"/>
    <p:sldId id="646" r:id="rId9"/>
    <p:sldId id="663" r:id="rId10"/>
    <p:sldId id="665" r:id="rId11"/>
    <p:sldId id="647" r:id="rId12"/>
    <p:sldId id="664" r:id="rId13"/>
    <p:sldId id="666" r:id="rId14"/>
    <p:sldId id="648" r:id="rId15"/>
    <p:sldId id="667" r:id="rId16"/>
    <p:sldId id="668" r:id="rId17"/>
    <p:sldId id="649" r:id="rId18"/>
    <p:sldId id="669" r:id="rId19"/>
    <p:sldId id="671" r:id="rId20"/>
    <p:sldId id="670" r:id="rId21"/>
    <p:sldId id="650" r:id="rId22"/>
    <p:sldId id="672" r:id="rId23"/>
    <p:sldId id="652" r:id="rId24"/>
    <p:sldId id="673" r:id="rId25"/>
    <p:sldId id="674" r:id="rId26"/>
    <p:sldId id="651" r:id="rId27"/>
    <p:sldId id="675" r:id="rId28"/>
    <p:sldId id="676" r:id="rId29"/>
    <p:sldId id="677" r:id="rId30"/>
    <p:sldId id="653" r:id="rId31"/>
    <p:sldId id="678" r:id="rId32"/>
    <p:sldId id="679" r:id="rId33"/>
    <p:sldId id="654" r:id="rId34"/>
    <p:sldId id="680" r:id="rId35"/>
    <p:sldId id="681" r:id="rId36"/>
    <p:sldId id="655" r:id="rId37"/>
    <p:sldId id="682" r:id="rId38"/>
    <p:sldId id="683" r:id="rId39"/>
    <p:sldId id="656" r:id="rId40"/>
    <p:sldId id="684" r:id="rId41"/>
    <p:sldId id="685" r:id="rId42"/>
    <p:sldId id="686" r:id="rId43"/>
    <p:sldId id="688" r:id="rId44"/>
    <p:sldId id="657" r:id="rId45"/>
    <p:sldId id="689" r:id="rId46"/>
    <p:sldId id="690" r:id="rId47"/>
    <p:sldId id="691" r:id="rId48"/>
    <p:sldId id="692" r:id="rId49"/>
    <p:sldId id="658" r:id="rId50"/>
    <p:sldId id="693" r:id="rId51"/>
    <p:sldId id="694" r:id="rId52"/>
    <p:sldId id="695" r:id="rId53"/>
    <p:sldId id="696" r:id="rId54"/>
    <p:sldId id="697" r:id="rId55"/>
    <p:sldId id="698" r:id="rId56"/>
    <p:sldId id="659" r:id="rId57"/>
    <p:sldId id="699" r:id="rId58"/>
    <p:sldId id="700" r:id="rId59"/>
    <p:sldId id="660" r:id="rId60"/>
    <p:sldId id="701" r:id="rId61"/>
    <p:sldId id="661" r:id="rId62"/>
    <p:sldId id="702" r:id="rId63"/>
    <p:sldId id="703" r:id="rId64"/>
    <p:sldId id="518" r:id="rId65"/>
    <p:sldId id="618" r:id="rId66"/>
    <p:sldId id="619" r:id="rId67"/>
    <p:sldId id="620" r:id="rId68"/>
    <p:sldId id="621" r:id="rId6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5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/>
  <p:cmAuthor id="2" name="Leilas" initials="L" lastIdx="11" clrIdx="1"/>
  <p:cmAuthor id="3" name="Admin" initials="AAA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E2F3"/>
    <a:srgbClr val="D8EBF4"/>
    <a:srgbClr val="F2F2F2"/>
    <a:srgbClr val="E9950D"/>
    <a:srgbClr val="EFF5FB"/>
    <a:srgbClr val="79BFD5"/>
    <a:srgbClr val="9ED442"/>
    <a:srgbClr val="40A7E1"/>
    <a:srgbClr val="F5B144"/>
    <a:srgbClr val="F6DB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444" autoAdjust="0"/>
    <p:restoredTop sz="96408" autoAdjust="0"/>
  </p:normalViewPr>
  <p:slideViewPr>
    <p:cSldViewPr snapToGrid="0">
      <p:cViewPr varScale="1">
        <p:scale>
          <a:sx n="46" d="100"/>
          <a:sy n="46" d="100"/>
        </p:scale>
        <p:origin x="38" y="278"/>
      </p:cViewPr>
      <p:guideLst>
        <p:guide orient="horz" pos="415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09.10.20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t>09.10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3.emf"/><Relationship Id="rId7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3.emf"/><Relationship Id="rId7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33.png"/><Relationship Id="rId4" Type="http://schemas.openxmlformats.org/officeDocument/2006/relationships/image" Target="../media/image23.png"/><Relationship Id="rId9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3.emf"/><Relationship Id="rId7" Type="http://schemas.openxmlformats.org/officeDocument/2006/relationships/image" Target="../media/image26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5.png"/><Relationship Id="rId11" Type="http://schemas.openxmlformats.org/officeDocument/2006/relationships/image" Target="../media/image34.png"/><Relationship Id="rId5" Type="http://schemas.openxmlformats.org/officeDocument/2006/relationships/image" Target="../media/image24.png"/><Relationship Id="rId10" Type="http://schemas.openxmlformats.org/officeDocument/2006/relationships/image" Target="../media/image33.png"/><Relationship Id="rId4" Type="http://schemas.openxmlformats.org/officeDocument/2006/relationships/image" Target="../media/image23.png"/><Relationship Id="rId9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.emf"/><Relationship Id="rId7" Type="http://schemas.openxmlformats.org/officeDocument/2006/relationships/image" Target="../media/image37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0.png"/><Relationship Id="rId3" Type="http://schemas.openxmlformats.org/officeDocument/2006/relationships/image" Target="../media/image3.emf"/><Relationship Id="rId7" Type="http://schemas.openxmlformats.org/officeDocument/2006/relationships/image" Target="../media/image37.png"/><Relationship Id="rId12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11" Type="http://schemas.openxmlformats.org/officeDocument/2006/relationships/image" Target="../media/image43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0.png"/><Relationship Id="rId3" Type="http://schemas.openxmlformats.org/officeDocument/2006/relationships/image" Target="../media/image3.emf"/><Relationship Id="rId7" Type="http://schemas.openxmlformats.org/officeDocument/2006/relationships/image" Target="../media/image37.png"/><Relationship Id="rId12" Type="http://schemas.openxmlformats.org/officeDocument/2006/relationships/image" Target="../media/image3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6.png"/><Relationship Id="rId11" Type="http://schemas.openxmlformats.org/officeDocument/2006/relationships/image" Target="../media/image43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10" Type="http://schemas.openxmlformats.org/officeDocument/2006/relationships/image" Target="../media/image51.png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4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5.png"/><Relationship Id="rId11" Type="http://schemas.openxmlformats.org/officeDocument/2006/relationships/image" Target="../media/image47.png"/><Relationship Id="rId5" Type="http://schemas.openxmlformats.org/officeDocument/2006/relationships/image" Target="../media/image44.png"/><Relationship Id="rId10" Type="http://schemas.openxmlformats.org/officeDocument/2006/relationships/image" Target="../media/image51.png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9.png"/><Relationship Id="rId3" Type="http://schemas.openxmlformats.org/officeDocument/2006/relationships/image" Target="../media/image41.png"/><Relationship Id="rId7" Type="http://schemas.openxmlformats.org/officeDocument/2006/relationships/image" Target="../media/image42.png"/><Relationship Id="rId12" Type="http://schemas.openxmlformats.org/officeDocument/2006/relationships/image" Target="../media/image4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6.png"/><Relationship Id="rId11" Type="http://schemas.openxmlformats.org/officeDocument/2006/relationships/image" Target="../media/image47.png"/><Relationship Id="rId5" Type="http://schemas.openxmlformats.org/officeDocument/2006/relationships/image" Target="../media/image45.png"/><Relationship Id="rId10" Type="http://schemas.openxmlformats.org/officeDocument/2006/relationships/image" Target="../media/image51.png"/><Relationship Id="rId4" Type="http://schemas.openxmlformats.org/officeDocument/2006/relationships/image" Target="../media/image4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2.png"/><Relationship Id="rId5" Type="http://schemas.microsoft.com/office/2007/relationships/hdphoto" Target="../media/hdphoto1.wdp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41.png"/><Relationship Id="rId7" Type="http://schemas.openxmlformats.org/officeDocument/2006/relationships/image" Target="../media/image53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2.png"/><Relationship Id="rId5" Type="http://schemas.microsoft.com/office/2007/relationships/hdphoto" Target="../media/hdphoto1.wdp"/><Relationship Id="rId4" Type="http://schemas.openxmlformats.org/officeDocument/2006/relationships/image" Target="../media/image5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7" Type="http://schemas.openxmlformats.org/officeDocument/2006/relationships/image" Target="../media/image5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5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5.png"/><Relationship Id="rId5" Type="http://schemas.openxmlformats.org/officeDocument/2006/relationships/image" Target="../media/image61.png"/><Relationship Id="rId10" Type="http://schemas.openxmlformats.org/officeDocument/2006/relationships/image" Target="../media/image71.png"/><Relationship Id="rId4" Type="http://schemas.openxmlformats.org/officeDocument/2006/relationships/image" Target="../media/image6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7" Type="http://schemas.openxmlformats.org/officeDocument/2006/relationships/image" Target="../media/image6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5.png"/><Relationship Id="rId11" Type="http://schemas.openxmlformats.org/officeDocument/2006/relationships/image" Target="../media/image67.png"/><Relationship Id="rId5" Type="http://schemas.openxmlformats.org/officeDocument/2006/relationships/image" Target="../media/image61.png"/><Relationship Id="rId10" Type="http://schemas.openxmlformats.org/officeDocument/2006/relationships/image" Target="../media/image71.png"/><Relationship Id="rId4" Type="http://schemas.openxmlformats.org/officeDocument/2006/relationships/image" Target="../media/image6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12" Type="http://schemas.openxmlformats.org/officeDocument/2006/relationships/image" Target="../media/image6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6.png"/><Relationship Id="rId11" Type="http://schemas.openxmlformats.org/officeDocument/2006/relationships/image" Target="../media/image68.png"/><Relationship Id="rId5" Type="http://schemas.openxmlformats.org/officeDocument/2006/relationships/image" Target="../media/image65.png"/><Relationship Id="rId10" Type="http://schemas.openxmlformats.org/officeDocument/2006/relationships/image" Target="../media/image67.png"/><Relationship Id="rId4" Type="http://schemas.openxmlformats.org/officeDocument/2006/relationships/image" Target="../media/image60.png"/><Relationship Id="rId9" Type="http://schemas.openxmlformats.org/officeDocument/2006/relationships/image" Target="../media/image71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0.png"/><Relationship Id="rId7" Type="http://schemas.openxmlformats.org/officeDocument/2006/relationships/image" Target="../media/image7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0.png"/><Relationship Id="rId7" Type="http://schemas.openxmlformats.org/officeDocument/2006/relationships/image" Target="../media/image7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0.png"/><Relationship Id="rId7" Type="http://schemas.openxmlformats.org/officeDocument/2006/relationships/image" Target="../media/image7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11" Type="http://schemas.openxmlformats.org/officeDocument/2006/relationships/image" Target="../media/image79.png"/><Relationship Id="rId5" Type="http://schemas.openxmlformats.org/officeDocument/2006/relationships/image" Target="../media/image73.png"/><Relationship Id="rId10" Type="http://schemas.openxmlformats.org/officeDocument/2006/relationships/image" Target="../media/image78.png"/><Relationship Id="rId4" Type="http://schemas.openxmlformats.org/officeDocument/2006/relationships/image" Target="../media/image72.png"/><Relationship Id="rId9" Type="http://schemas.openxmlformats.org/officeDocument/2006/relationships/image" Target="../media/image77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0.png"/><Relationship Id="rId7" Type="http://schemas.openxmlformats.org/officeDocument/2006/relationships/image" Target="../media/image7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Relationship Id="rId9" Type="http://schemas.openxmlformats.org/officeDocument/2006/relationships/image" Target="../media/image81.png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0.png"/><Relationship Id="rId7" Type="http://schemas.openxmlformats.org/officeDocument/2006/relationships/image" Target="../media/image7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Relationship Id="rId9" Type="http://schemas.openxmlformats.org/officeDocument/2006/relationships/image" Target="../media/image81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0.png"/><Relationship Id="rId7" Type="http://schemas.openxmlformats.org/officeDocument/2006/relationships/image" Target="../media/image7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Relationship Id="rId9" Type="http://schemas.openxmlformats.org/officeDocument/2006/relationships/image" Target="../media/image81.png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image" Target="../media/image70.png"/><Relationship Id="rId7" Type="http://schemas.openxmlformats.org/officeDocument/2006/relationships/image" Target="../media/image7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3.emf"/><Relationship Id="rId7" Type="http://schemas.openxmlformats.org/officeDocument/2006/relationships/image" Target="../media/image7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10" Type="http://schemas.openxmlformats.org/officeDocument/2006/relationships/image" Target="../media/image84.png"/><Relationship Id="rId4" Type="http://schemas.openxmlformats.org/officeDocument/2006/relationships/image" Target="../media/image70.png"/><Relationship Id="rId9" Type="http://schemas.openxmlformats.org/officeDocument/2006/relationships/image" Target="../media/image82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image" Target="../media/image3.emf"/><Relationship Id="rId7" Type="http://schemas.openxmlformats.org/officeDocument/2006/relationships/image" Target="../media/image7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3.png"/><Relationship Id="rId11" Type="http://schemas.openxmlformats.org/officeDocument/2006/relationships/image" Target="../media/image85.png"/><Relationship Id="rId5" Type="http://schemas.openxmlformats.org/officeDocument/2006/relationships/image" Target="../media/image72.png"/><Relationship Id="rId10" Type="http://schemas.openxmlformats.org/officeDocument/2006/relationships/image" Target="../media/image84.png"/><Relationship Id="rId4" Type="http://schemas.openxmlformats.org/officeDocument/2006/relationships/image" Target="../media/image70.png"/><Relationship Id="rId9" Type="http://schemas.openxmlformats.org/officeDocument/2006/relationships/image" Target="../media/image82.png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3.emf"/><Relationship Id="rId7" Type="http://schemas.openxmlformats.org/officeDocument/2006/relationships/image" Target="../media/image82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5.png"/><Relationship Id="rId5" Type="http://schemas.openxmlformats.org/officeDocument/2006/relationships/image" Target="../media/image72.png"/><Relationship Id="rId4" Type="http://schemas.openxmlformats.org/officeDocument/2006/relationships/image" Target="../media/image70.png"/><Relationship Id="rId9" Type="http://schemas.openxmlformats.org/officeDocument/2006/relationships/image" Target="../media/image85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9.png"/><Relationship Id="rId11" Type="http://schemas.openxmlformats.org/officeDocument/2006/relationships/image" Target="../media/image96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9.png"/><Relationship Id="rId11" Type="http://schemas.openxmlformats.org/officeDocument/2006/relationships/image" Target="../media/image96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9.png"/><Relationship Id="rId11" Type="http://schemas.openxmlformats.org/officeDocument/2006/relationships/image" Target="../media/image96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8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9.png"/><Relationship Id="rId11" Type="http://schemas.openxmlformats.org/officeDocument/2006/relationships/image" Target="../media/image96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8.png"/><Relationship Id="rId3" Type="http://schemas.openxmlformats.org/officeDocument/2006/relationships/image" Target="../media/image86.png"/><Relationship Id="rId7" Type="http://schemas.openxmlformats.org/officeDocument/2006/relationships/image" Target="../media/image90.png"/><Relationship Id="rId12" Type="http://schemas.openxmlformats.org/officeDocument/2006/relationships/image" Target="../media/image9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9.png"/><Relationship Id="rId11" Type="http://schemas.openxmlformats.org/officeDocument/2006/relationships/image" Target="../media/image96.png"/><Relationship Id="rId5" Type="http://schemas.openxmlformats.org/officeDocument/2006/relationships/image" Target="../media/image88.png"/><Relationship Id="rId4" Type="http://schemas.openxmlformats.org/officeDocument/2006/relationships/image" Target="../media/image87.png"/><Relationship Id="rId14" Type="http://schemas.openxmlformats.org/officeDocument/2006/relationships/image" Target="../media/image99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8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8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87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8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87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87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87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87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4.png"/><Relationship Id="rId7" Type="http://schemas.openxmlformats.org/officeDocument/2006/relationships/image" Target="../media/image10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5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4.png"/><Relationship Id="rId7" Type="http://schemas.openxmlformats.org/officeDocument/2006/relationships/image" Target="../media/image10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1.png"/><Relationship Id="rId11" Type="http://schemas.openxmlformats.org/officeDocument/2006/relationships/image" Target="../media/image108.png"/><Relationship Id="rId5" Type="http://schemas.openxmlformats.org/officeDocument/2006/relationships/image" Target="../media/image100.png"/><Relationship Id="rId4" Type="http://schemas.openxmlformats.org/officeDocument/2006/relationships/image" Target="../media/image95.png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94.png"/><Relationship Id="rId7" Type="http://schemas.openxmlformats.org/officeDocument/2006/relationships/image" Target="../media/image10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1.png"/><Relationship Id="rId11" Type="http://schemas.openxmlformats.org/officeDocument/2006/relationships/image" Target="../media/image108.png"/><Relationship Id="rId5" Type="http://schemas.openxmlformats.org/officeDocument/2006/relationships/image" Target="../media/image100.png"/><Relationship Id="rId4" Type="http://schemas.openxmlformats.org/officeDocument/2006/relationships/image" Target="../media/image95.png"/></Relationships>
</file>

<file path=ppt/slides/_rels/slide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3.emf"/><Relationship Id="rId7" Type="http://schemas.openxmlformats.org/officeDocument/2006/relationships/image" Target="../media/image101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0.png"/><Relationship Id="rId5" Type="http://schemas.openxmlformats.org/officeDocument/2006/relationships/image" Target="../media/image95.png"/><Relationship Id="rId10" Type="http://schemas.openxmlformats.org/officeDocument/2006/relationships/image" Target="../media/image106.png"/><Relationship Id="rId4" Type="http://schemas.openxmlformats.org/officeDocument/2006/relationships/image" Target="../media/image94.png"/><Relationship Id="rId9" Type="http://schemas.openxmlformats.org/officeDocument/2006/relationships/image" Target="../media/image10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5" Type="http://schemas.openxmlformats.org/officeDocument/2006/relationships/image" Target="../media/image16.png"/><Relationship Id="rId4" Type="http://schemas.openxmlformats.org/officeDocument/2006/relationships/image" Target="../media/image8.png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3.emf"/><Relationship Id="rId7" Type="http://schemas.openxmlformats.org/officeDocument/2006/relationships/image" Target="../media/image101.png"/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0.png"/><Relationship Id="rId5" Type="http://schemas.openxmlformats.org/officeDocument/2006/relationships/image" Target="../media/image95.png"/><Relationship Id="rId10" Type="http://schemas.openxmlformats.org/officeDocument/2006/relationships/image" Target="../media/image106.png"/><Relationship Id="rId4" Type="http://schemas.openxmlformats.org/officeDocument/2006/relationships/image" Target="../media/image94.png"/><Relationship Id="rId9" Type="http://schemas.openxmlformats.org/officeDocument/2006/relationships/image" Target="../media/image105.png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94.png"/><Relationship Id="rId7" Type="http://schemas.openxmlformats.org/officeDocument/2006/relationships/image" Target="../media/image102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10" Type="http://schemas.openxmlformats.org/officeDocument/2006/relationships/image" Target="../media/image110.png"/><Relationship Id="rId4" Type="http://schemas.openxmlformats.org/officeDocument/2006/relationships/image" Target="../media/image95.png"/><Relationship Id="rId9" Type="http://schemas.openxmlformats.org/officeDocument/2006/relationships/image" Target="../media/image109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3.emf"/><Relationship Id="rId7" Type="http://schemas.openxmlformats.org/officeDocument/2006/relationships/image" Target="../media/image101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0.png"/><Relationship Id="rId11" Type="http://schemas.openxmlformats.org/officeDocument/2006/relationships/image" Target="../media/image110.png"/><Relationship Id="rId5" Type="http://schemas.openxmlformats.org/officeDocument/2006/relationships/image" Target="../media/image95.png"/><Relationship Id="rId15" Type="http://schemas.openxmlformats.org/officeDocument/2006/relationships/image" Target="../media/image112.png"/><Relationship Id="rId10" Type="http://schemas.openxmlformats.org/officeDocument/2006/relationships/image" Target="../media/image109.png"/><Relationship Id="rId4" Type="http://schemas.openxmlformats.org/officeDocument/2006/relationships/image" Target="../media/image94.png"/><Relationship Id="rId9" Type="http://schemas.openxmlformats.org/officeDocument/2006/relationships/image" Target="../media/image107.png"/><Relationship Id="rId14" Type="http://schemas.openxmlformats.org/officeDocument/2006/relationships/image" Target="../media/image116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png"/><Relationship Id="rId3" Type="http://schemas.openxmlformats.org/officeDocument/2006/relationships/image" Target="../media/image3.emf"/><Relationship Id="rId7" Type="http://schemas.openxmlformats.org/officeDocument/2006/relationships/image" Target="../media/image109.png"/><Relationship Id="rId12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7.png"/><Relationship Id="rId11" Type="http://schemas.openxmlformats.org/officeDocument/2006/relationships/image" Target="../media/image11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hyperlink" Target="https://shop.prosv.ru/search?q=%D0%A0%D0%BE%D1%81%D0%BB%D0%BE%D0%B2%D0%B0#/orderby=5&amp;q=%D0%A0%D0%BE%D1%81%D0%BB%D0%BE%D0%B2%D0%B0&amp;sFilters=21!56334;4!2304;13!81288;?utm_source=uchitel.club&amp;utm_medium=webinar&amp;utm_campaign=pisa_mat_gram_12_08" TargetMode="External"/><Relationship Id="rId7" Type="http://schemas.openxmlformats.org/officeDocument/2006/relationships/image" Target="../media/image19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4.gif"/><Relationship Id="rId11" Type="http://schemas.openxmlformats.org/officeDocument/2006/relationships/image" Target="../media/image115.png"/><Relationship Id="rId5" Type="http://schemas.openxmlformats.org/officeDocument/2006/relationships/image" Target="../media/image113.png"/><Relationship Id="rId10" Type="http://schemas.openxmlformats.org/officeDocument/2006/relationships/image" Target="../media/image22.jpeg"/><Relationship Id="rId4" Type="http://schemas.openxmlformats.org/officeDocument/2006/relationships/hyperlink" Target="https://shop.prosv.ru/search?q=%D0%A1%D0%B5%D1%80%D0%B3%D0%B5%D0%B5%D0%B2%D0%B0#/orderby=5&amp;q=%D0%A1%D0%B5%D1%80%D0%B3%D0%B5%D0%B5%D0%B2%D0%B0&amp;sFilters=13!67611;?utm_source=uchitel.club&amp;utm_medium=webinar&amp;utm_campaign=pisa_mat_gram_11_08" TargetMode="External"/><Relationship Id="rId9" Type="http://schemas.openxmlformats.org/officeDocument/2006/relationships/image" Target="../media/image21.jpe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9.png"/><Relationship Id="rId3" Type="http://schemas.openxmlformats.org/officeDocument/2006/relationships/hyperlink" Target="https://shop.prosv.ru/katalog#/orderby=5&amp;sFilters=13!81288;?utm_source=uchitel.club&amp;utm_medium=webinar&amp;utm_campaign=pisa_mat_gram_12_08" TargetMode="External"/><Relationship Id="rId7" Type="http://schemas.openxmlformats.org/officeDocument/2006/relationships/image" Target="../media/image118.jpeg"/><Relationship Id="rId12" Type="http://schemas.openxmlformats.org/officeDocument/2006/relationships/image" Target="../media/image11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7.png"/><Relationship Id="rId11" Type="http://schemas.openxmlformats.org/officeDocument/2006/relationships/image" Target="../media/image121.png"/><Relationship Id="rId5" Type="http://schemas.openxmlformats.org/officeDocument/2006/relationships/hyperlink" Target="https://shop.prosv.ru/katalog#/orderby=5&amp;sFilters=13!3000;?utm_source=uchitel.club&amp;utm_medium=webinar&amp;utm_campaign=pisa_mat_gram_12_08" TargetMode="External"/><Relationship Id="rId10" Type="http://schemas.openxmlformats.org/officeDocument/2006/relationships/hyperlink" Target="https://media.prosv.ru/content/?situations=true?utm_source=uchitel.club&amp;utm_medium=webinar&amp;utm_campaign=pisa_mat_gram_12_08" TargetMode="External"/><Relationship Id="rId4" Type="http://schemas.openxmlformats.org/officeDocument/2006/relationships/hyperlink" Target="https://shop.prosv.ru/katalog#/orderby=5&amp;sFilters=13!67611;?utm_source=uchitel.club&amp;utm_medium=webinar&amp;utm_campaign=pisa_mat_gram_12_08" TargetMode="External"/><Relationship Id="rId9" Type="http://schemas.openxmlformats.org/officeDocument/2006/relationships/image" Target="../media/image120.png"/></Relationships>
</file>

<file path=ppt/slides/_rels/slide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jpeg"/><Relationship Id="rId13" Type="http://schemas.openxmlformats.org/officeDocument/2006/relationships/image" Target="../media/image115.png"/><Relationship Id="rId3" Type="http://schemas.openxmlformats.org/officeDocument/2006/relationships/image" Target="../media/image122.jpeg"/><Relationship Id="rId7" Type="http://schemas.openxmlformats.org/officeDocument/2006/relationships/image" Target="../media/image125.jpeg"/><Relationship Id="rId12" Type="http://schemas.openxmlformats.org/officeDocument/2006/relationships/image" Target="../media/image130.gi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hyperlink" Target="https://prosv.ru/pages/pisa.html?utm_source=uchitel.club&amp;utm_medium=webinar&amp;utm_campaign=pisa_mat_gram_12_08" TargetMode="External"/><Relationship Id="rId11" Type="http://schemas.openxmlformats.org/officeDocument/2006/relationships/image" Target="../media/image129.jpeg"/><Relationship Id="rId5" Type="http://schemas.openxmlformats.org/officeDocument/2006/relationships/image" Target="../media/image124.jpeg"/><Relationship Id="rId10" Type="http://schemas.openxmlformats.org/officeDocument/2006/relationships/image" Target="../media/image128.jpeg"/><Relationship Id="rId4" Type="http://schemas.openxmlformats.org/officeDocument/2006/relationships/image" Target="../media/image123.jpeg"/><Relationship Id="rId9" Type="http://schemas.openxmlformats.org/officeDocument/2006/relationships/image" Target="../media/image127.jpeg"/></Relationships>
</file>

<file path=ppt/slides/_rels/slide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4.jpeg"/><Relationship Id="rId3" Type="http://schemas.openxmlformats.org/officeDocument/2006/relationships/image" Target="../media/image3.emf"/><Relationship Id="rId7" Type="http://schemas.openxmlformats.org/officeDocument/2006/relationships/image" Target="../media/image133.png"/><Relationship Id="rId2" Type="http://schemas.openxmlformats.org/officeDocument/2006/relationships/hyperlink" Target="https://prosv.ru/pages/pisa.html?utm_source=uchitel.club&amp;utm_medium=webinar&amp;utm_campaign=pisa_mat_gram_12_08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2.png"/><Relationship Id="rId11" Type="http://schemas.openxmlformats.org/officeDocument/2006/relationships/image" Target="../media/image115.png"/><Relationship Id="rId5" Type="http://schemas.openxmlformats.org/officeDocument/2006/relationships/image" Target="../media/image131.png"/><Relationship Id="rId10" Type="http://schemas.openxmlformats.org/officeDocument/2006/relationships/image" Target="../media/image136.gif"/><Relationship Id="rId4" Type="http://schemas.openxmlformats.org/officeDocument/2006/relationships/image" Target="../media/image113.png"/><Relationship Id="rId9" Type="http://schemas.openxmlformats.org/officeDocument/2006/relationships/image" Target="../media/image135.jpeg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7" Type="http://schemas.openxmlformats.org/officeDocument/2006/relationships/image" Target="../media/image139.png"/><Relationship Id="rId2" Type="http://schemas.openxmlformats.org/officeDocument/2006/relationships/hyperlink" Target="https://media.prosv.ru/fg/?utm_source=uchitel.club&amp;utm_medium=webinar&amp;utm_campaign=pisa_mat_gram_12_08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8.png"/><Relationship Id="rId5" Type="http://schemas.openxmlformats.org/officeDocument/2006/relationships/image" Target="../media/image137.png"/><Relationship Id="rId4" Type="http://schemas.openxmlformats.org/officeDocument/2006/relationships/image" Target="../media/image11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3" Type="http://schemas.openxmlformats.org/officeDocument/2006/relationships/image" Target="../media/image12.png"/><Relationship Id="rId7" Type="http://schemas.openxmlformats.org/officeDocument/2006/relationships/image" Target="../media/image19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jpeg"/><Relationship Id="rId4" Type="http://schemas.openxmlformats.org/officeDocument/2006/relationships/image" Target="../media/image15.png"/><Relationship Id="rId9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2540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41492" y="2696803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8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6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8803" y="4431335"/>
            <a:ext cx="11481124" cy="1677382"/>
          </a:xfr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ru-RU" sz="4000" dirty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cript" panose="030B0504020000000003" pitchFamily="66" charset="0"/>
                <a:ea typeface="Open Sans" panose="020B0606030504020204" pitchFamily="34" charset="0"/>
                <a:cs typeface="Open Sans" panose="020B0606030504020204" pitchFamily="34" charset="0"/>
              </a:rPr>
              <a:t>Готовимся к PISA-2022. </a:t>
            </a:r>
          </a:p>
          <a:p>
            <a:pPr>
              <a:spcBef>
                <a:spcPts val="0"/>
              </a:spcBef>
            </a:pPr>
            <a:r>
              <a:rPr lang="ru-RU" sz="4000" dirty="0">
                <a:solidFill>
                  <a:srgbClr val="2D2B8D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cript" panose="030B0504020000000003" pitchFamily="66" charset="0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. Разбор заданий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FE64147-3CB2-4BA8-B18C-B6D3BB04F95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8967" y="644691"/>
            <a:ext cx="2305050" cy="153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0" y="583046"/>
            <a:ext cx="2122096" cy="3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77" y="956071"/>
            <a:ext cx="5810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51" y="1314966"/>
            <a:ext cx="6082193" cy="129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6" y="2613804"/>
            <a:ext cx="4451949" cy="202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7" y="4812640"/>
            <a:ext cx="5945955" cy="9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010" y="769558"/>
            <a:ext cx="4685581" cy="2032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115" name="Picture 3"/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5200" y="2957513"/>
            <a:ext cx="5029200" cy="942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2208362" y="5952226"/>
            <a:ext cx="16968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твет. 2 класс</a:t>
            </a:r>
          </a:p>
        </p:txBody>
      </p:sp>
    </p:spTree>
    <p:extLst>
      <p:ext uri="{BB962C8B-B14F-4D97-AF65-F5344CB8AC3E}">
        <p14:creationId xmlns:p14="http://schemas.microsoft.com/office/powerpoint/2010/main" val="15789820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686" y="4640058"/>
            <a:ext cx="6148944" cy="1976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0" y="583046"/>
            <a:ext cx="2122096" cy="3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77" y="956071"/>
            <a:ext cx="5810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51" y="1314966"/>
            <a:ext cx="6082193" cy="129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6" y="2613804"/>
            <a:ext cx="4451949" cy="202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80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679" y="400898"/>
            <a:ext cx="2504140" cy="1826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60443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686" y="4640058"/>
            <a:ext cx="6148944" cy="1976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0" y="583046"/>
            <a:ext cx="2122096" cy="3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77" y="956071"/>
            <a:ext cx="5810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51" y="1314966"/>
            <a:ext cx="6082193" cy="129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6" y="2613804"/>
            <a:ext cx="4451949" cy="202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80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679" y="400898"/>
            <a:ext cx="2504140" cy="1826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6382" y="2613804"/>
            <a:ext cx="498157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39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282" y="3299604"/>
            <a:ext cx="5019675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8022567" y="771405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368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686" y="4640058"/>
            <a:ext cx="6148944" cy="1976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0" y="583046"/>
            <a:ext cx="2122096" cy="3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77" y="956071"/>
            <a:ext cx="5810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51" y="1314966"/>
            <a:ext cx="6082193" cy="129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7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6" y="2613804"/>
            <a:ext cx="4451949" cy="202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80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679" y="400898"/>
            <a:ext cx="2504140" cy="18264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38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6382" y="2613804"/>
            <a:ext cx="4981575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1139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282" y="3299604"/>
            <a:ext cx="5019675" cy="1171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8022567" y="771405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11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6382" y="4866647"/>
            <a:ext cx="5000625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74005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837" y="5318319"/>
            <a:ext cx="6565510" cy="883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0" y="583046"/>
            <a:ext cx="2122096" cy="3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77" y="956071"/>
            <a:ext cx="5810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21519"/>
            <a:ext cx="5857336" cy="223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1" y="3835724"/>
            <a:ext cx="902195" cy="225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4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46" y="3459776"/>
            <a:ext cx="4077340" cy="2752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1994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837" y="5318319"/>
            <a:ext cx="6565510" cy="883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0" y="583046"/>
            <a:ext cx="2122096" cy="3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77" y="956071"/>
            <a:ext cx="5810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21519"/>
            <a:ext cx="5857336" cy="223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1" y="3835724"/>
            <a:ext cx="902195" cy="225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4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46" y="3459776"/>
            <a:ext cx="4077340" cy="2752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6327524" y="1186873"/>
                <a:ext cx="5530823" cy="28007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600" b="1" i="1" dirty="0"/>
                  <a:t>Рассуждаем:</a:t>
                </a:r>
                <a:r>
                  <a:rPr lang="ru-RU" sz="1600" dirty="0"/>
                  <a:t> </a:t>
                </a:r>
              </a:p>
              <a:p>
                <a:r>
                  <a:rPr lang="ru-RU" sz="1600" dirty="0"/>
                  <a:t>В пятницу в 9 ч утра Иван Иванович завёл часы и передвинул стрелки. </a:t>
                </a:r>
              </a:p>
              <a:p>
                <a:r>
                  <a:rPr lang="ru-RU" sz="1600" dirty="0"/>
                  <a:t>В сутках 24 часа, значит, до конца пятницы осталось 15 ч </a:t>
                </a:r>
              </a:p>
              <a:p>
                <a:r>
                  <a:rPr lang="ru-RU" sz="1600" dirty="0"/>
                  <a:t>(24 – 9 = 15 ч), поэтому в пятницу часы отстанут на 15 мин. </a:t>
                </a:r>
              </a:p>
              <a:p>
                <a:r>
                  <a:rPr lang="ru-RU" sz="1600" dirty="0"/>
                  <a:t>За субботу</a:t>
                </a:r>
                <a:r>
                  <a:rPr lang="en-US" sz="1600" dirty="0"/>
                  <a:t> </a:t>
                </a:r>
                <a:r>
                  <a:rPr lang="ru-RU" sz="1600" dirty="0"/>
                  <a:t>часы отстанут ещё на 24 мин, </a:t>
                </a:r>
              </a:p>
              <a:p>
                <a:r>
                  <a:rPr lang="ru-RU" sz="1600" dirty="0"/>
                  <a:t>за воскресенье — ещё на</a:t>
                </a:r>
                <a:r>
                  <a:rPr lang="en-US" sz="1600" dirty="0"/>
                  <a:t> </a:t>
                </a:r>
                <a:r>
                  <a:rPr lang="ru-RU" sz="1600" dirty="0"/>
                  <a:t>24 мин, </a:t>
                </a:r>
              </a:p>
              <a:p>
                <a:r>
                  <a:rPr lang="ru-RU" sz="1600" dirty="0"/>
                  <a:t>в понедельник — ещё на 9 мин, так как Пете</a:t>
                </a:r>
                <a:r>
                  <a:rPr lang="en-US" sz="1600" dirty="0"/>
                  <a:t> </a:t>
                </a:r>
                <a:r>
                  <a:rPr lang="ru-RU" sz="1600" dirty="0"/>
                  <a:t>поручено завести часы в 9 ч утра.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1600" b="0" i="1" smtClean="0">
                          <a:latin typeface="Cambria Math"/>
                        </a:rPr>
                        <m:t>15+24+24+9=72 (мин)</m:t>
                      </m:r>
                    </m:oMath>
                  </m:oMathPara>
                </a14:m>
                <a:endParaRPr lang="ru-RU" sz="1600" dirty="0"/>
              </a:p>
              <a:p>
                <a:endParaRPr lang="ru-RU" sz="1600" dirty="0"/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7524" y="1186873"/>
                <a:ext cx="5530823" cy="2800767"/>
              </a:xfrm>
              <a:prstGeom prst="rect">
                <a:avLst/>
              </a:prstGeom>
              <a:blipFill rotWithShape="1">
                <a:blip r:embed="rId11"/>
                <a:stretch>
                  <a:fillRect l="-662" t="-654" r="-44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3276" y="5390716"/>
            <a:ext cx="11239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18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926" y="5760301"/>
            <a:ext cx="13906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694097" y="5794807"/>
            <a:ext cx="457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72</a:t>
            </a:r>
          </a:p>
        </p:txBody>
      </p:sp>
    </p:spTree>
    <p:extLst>
      <p:ext uri="{BB962C8B-B14F-4D97-AF65-F5344CB8AC3E}">
        <p14:creationId xmlns:p14="http://schemas.microsoft.com/office/powerpoint/2010/main" val="42293018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5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837" y="5318319"/>
            <a:ext cx="6565510" cy="883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0" y="583046"/>
            <a:ext cx="2122096" cy="3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77" y="956071"/>
            <a:ext cx="5810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21519"/>
            <a:ext cx="5857336" cy="223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3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51" y="3835724"/>
            <a:ext cx="902195" cy="2255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4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646" y="3459775"/>
            <a:ext cx="4077340" cy="2752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6327524" y="1186873"/>
                <a:ext cx="5530823" cy="280076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600" b="1" i="1" dirty="0"/>
                  <a:t>Рассуждаем:</a:t>
                </a:r>
                <a:r>
                  <a:rPr lang="ru-RU" sz="1600" dirty="0"/>
                  <a:t> </a:t>
                </a:r>
              </a:p>
              <a:p>
                <a:r>
                  <a:rPr lang="ru-RU" sz="1600" dirty="0"/>
                  <a:t>В пятницу в 9 ч утра Иван Иванович завёл часы и передвинул стрелки. </a:t>
                </a:r>
              </a:p>
              <a:p>
                <a:r>
                  <a:rPr lang="ru-RU" sz="1600" dirty="0"/>
                  <a:t>В сутках 24 часа, значит, до конца пятницы осталось 15 ч </a:t>
                </a:r>
              </a:p>
              <a:p>
                <a:r>
                  <a:rPr lang="ru-RU" sz="1600" dirty="0"/>
                  <a:t>(24 – 9 = 15 ч), поэтому в пятницу часы отстанут на 15 мин. </a:t>
                </a:r>
              </a:p>
              <a:p>
                <a:r>
                  <a:rPr lang="ru-RU" sz="1600" dirty="0"/>
                  <a:t>За субботу</a:t>
                </a:r>
                <a:r>
                  <a:rPr lang="en-US" sz="1600" dirty="0"/>
                  <a:t> </a:t>
                </a:r>
                <a:r>
                  <a:rPr lang="ru-RU" sz="1600" dirty="0"/>
                  <a:t>часы отстанут ещё на 24 мин, </a:t>
                </a:r>
              </a:p>
              <a:p>
                <a:r>
                  <a:rPr lang="ru-RU" sz="1600" dirty="0"/>
                  <a:t>за воскресенье — ещё на</a:t>
                </a:r>
                <a:r>
                  <a:rPr lang="en-US" sz="1600" dirty="0"/>
                  <a:t> </a:t>
                </a:r>
                <a:r>
                  <a:rPr lang="ru-RU" sz="1600" dirty="0"/>
                  <a:t>24 мин, </a:t>
                </a:r>
              </a:p>
              <a:p>
                <a:r>
                  <a:rPr lang="ru-RU" sz="1600" dirty="0"/>
                  <a:t>в понедельник — ещё на 9 мин, так как Пете</a:t>
                </a:r>
                <a:r>
                  <a:rPr lang="en-US" sz="1600" dirty="0"/>
                  <a:t> </a:t>
                </a:r>
                <a:r>
                  <a:rPr lang="ru-RU" sz="1600" dirty="0"/>
                  <a:t>поручено завести часы в 9 ч утра.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1600" b="0" i="1" smtClean="0">
                          <a:latin typeface="Cambria Math"/>
                        </a:rPr>
                        <m:t>15+24+24+9=72 (мин)</m:t>
                      </m:r>
                    </m:oMath>
                  </m:oMathPara>
                </a14:m>
                <a:endParaRPr lang="ru-RU" sz="1600" dirty="0"/>
              </a:p>
              <a:p>
                <a:endParaRPr lang="ru-RU" sz="1600" dirty="0"/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327524" y="1186873"/>
                <a:ext cx="5530823" cy="2800767"/>
              </a:xfrm>
              <a:prstGeom prst="rect">
                <a:avLst/>
              </a:prstGeom>
              <a:blipFill rotWithShape="1">
                <a:blip r:embed="rId11"/>
                <a:stretch>
                  <a:fillRect l="-662" t="-654" r="-441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3276" y="5390716"/>
            <a:ext cx="11239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3187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926" y="5760301"/>
            <a:ext cx="13906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6694097" y="5794807"/>
            <a:ext cx="4572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72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172732" y="4251103"/>
            <a:ext cx="5516061" cy="584775"/>
          </a:xfrm>
          <a:prstGeom prst="rect">
            <a:avLst/>
          </a:prstGeom>
          <a:solidFill>
            <a:srgbClr val="D1E2F3"/>
          </a:solidFill>
        </p:spPr>
        <p:txBody>
          <a:bodyPr wrap="square">
            <a:spAutoFit/>
          </a:bodyPr>
          <a:lstStyle/>
          <a:p>
            <a:r>
              <a:rPr lang="ru-RU" sz="1600" b="1" dirty="0"/>
              <a:t>1 балл </a:t>
            </a:r>
            <a:r>
              <a:rPr lang="ru-RU" sz="1600" i="1" dirty="0"/>
              <a:t>— </a:t>
            </a:r>
            <a:r>
              <a:rPr lang="ru-RU" sz="1600" dirty="0"/>
              <a:t>верно заполнена таблица и указан ответ «72 мин»;</a:t>
            </a:r>
          </a:p>
          <a:p>
            <a:r>
              <a:rPr lang="ru-RU" sz="1600" b="1" dirty="0"/>
              <a:t>0 баллов </a:t>
            </a:r>
            <a:r>
              <a:rPr lang="ru-RU" sz="1600" i="1" dirty="0"/>
              <a:t>— </a:t>
            </a:r>
            <a:r>
              <a:rPr lang="ru-RU" sz="1600" dirty="0"/>
              <a:t>даны другие ответы ИЛИ ответ отсутствует.</a:t>
            </a:r>
          </a:p>
        </p:txBody>
      </p:sp>
    </p:spTree>
    <p:extLst>
      <p:ext uri="{BB962C8B-B14F-4D97-AF65-F5344CB8AC3E}">
        <p14:creationId xmlns:p14="http://schemas.microsoft.com/office/powerpoint/2010/main" val="17561898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-4216" y="6616876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D1E2F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945" y="539579"/>
            <a:ext cx="2352819" cy="36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4"/>
          <a:stretch/>
        </p:blipFill>
        <p:spPr bwMode="auto">
          <a:xfrm>
            <a:off x="517194" y="890503"/>
            <a:ext cx="4830792" cy="1895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0655" y="2708693"/>
            <a:ext cx="3901080" cy="31783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378" y="6047926"/>
            <a:ext cx="4881698" cy="32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3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511" y="1019898"/>
            <a:ext cx="6258541" cy="1954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7" r="78994"/>
          <a:stretch/>
        </p:blipFill>
        <p:spPr bwMode="auto">
          <a:xfrm>
            <a:off x="168996" y="3260786"/>
            <a:ext cx="1235463" cy="1895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58311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945" y="539579"/>
            <a:ext cx="2352819" cy="36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4"/>
          <a:stretch/>
        </p:blipFill>
        <p:spPr bwMode="auto">
          <a:xfrm>
            <a:off x="517194" y="890503"/>
            <a:ext cx="4830792" cy="1895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8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33" r="20174" b="85072"/>
          <a:stretch/>
        </p:blipFill>
        <p:spPr bwMode="auto">
          <a:xfrm>
            <a:off x="2380891" y="2405961"/>
            <a:ext cx="2242867" cy="474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16" y="6208772"/>
            <a:ext cx="4881698" cy="32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3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511" y="1019898"/>
            <a:ext cx="6258541" cy="1954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7" r="78994"/>
          <a:stretch/>
        </p:blipFill>
        <p:spPr bwMode="auto">
          <a:xfrm>
            <a:off x="168996" y="3260786"/>
            <a:ext cx="1235463" cy="1895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02382791"/>
                  </p:ext>
                </p:extLst>
              </p:nvPr>
            </p:nvGraphicFramePr>
            <p:xfrm>
              <a:off x="1357255" y="2880415"/>
              <a:ext cx="4017002" cy="31851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285128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2731874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День недели</a:t>
                          </a: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Отставание, мин</a:t>
                          </a: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Воскресенье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400" dirty="0"/>
                            <a:t>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Понедельник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+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Вторник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2 или 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Среда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3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или 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+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Четверг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или 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+ 24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+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Пятница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4+8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или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+ 24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+24</m:t>
                                </m:r>
                                <m:r>
                                  <a:rPr lang="en-US" sz="1400" b="0" i="0" dirty="0" smtClean="0">
                                    <a:latin typeface="Cambria Math"/>
                                  </a:rPr>
                                  <m:t>+8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002382791"/>
                  </p:ext>
                </p:extLst>
              </p:nvPr>
            </p:nvGraphicFramePr>
            <p:xfrm>
              <a:off x="1357255" y="2880415"/>
              <a:ext cx="4017002" cy="31851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285128"/>
                    <a:gridCol w="2731874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День недели</a:t>
                          </a:r>
                          <a:endParaRPr lang="ru-RU" sz="1400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Отставание, мин</a:t>
                          </a:r>
                          <a:endParaRPr lang="ru-RU" sz="1400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Воскресенье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400" dirty="0" smtClean="0"/>
                            <a:t>6</a:t>
                          </a:r>
                          <a:endParaRPr lang="ru-RU" sz="1400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Понедельник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205000" b="-568333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Вторник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215294" b="-301176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Среда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315294" b="-201176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Четверг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415294" b="-101176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Пятница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515294" b="-1176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ямоугольник 4"/>
          <p:cNvSpPr/>
          <p:nvPr/>
        </p:nvSpPr>
        <p:spPr>
          <a:xfrm>
            <a:off x="3200639" y="6116739"/>
            <a:ext cx="301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/>
              <a:t>6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178764" y="6125976"/>
            <a:ext cx="5485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101108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945" y="539579"/>
            <a:ext cx="2352819" cy="36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7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734"/>
          <a:stretch/>
        </p:blipFill>
        <p:spPr bwMode="auto">
          <a:xfrm>
            <a:off x="517194" y="890503"/>
            <a:ext cx="4830792" cy="1895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8" name="Picture 4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33" r="20174" b="85072"/>
          <a:stretch/>
        </p:blipFill>
        <p:spPr bwMode="auto">
          <a:xfrm>
            <a:off x="2380891" y="2405961"/>
            <a:ext cx="2242867" cy="474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16" y="6208772"/>
            <a:ext cx="4881698" cy="32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30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511" y="1019898"/>
            <a:ext cx="6258541" cy="1954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7" r="78994"/>
          <a:stretch/>
        </p:blipFill>
        <p:spPr bwMode="auto">
          <a:xfrm>
            <a:off x="168996" y="3260786"/>
            <a:ext cx="1235463" cy="1895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18706642"/>
                  </p:ext>
                </p:extLst>
              </p:nvPr>
            </p:nvGraphicFramePr>
            <p:xfrm>
              <a:off x="1357255" y="2880415"/>
              <a:ext cx="4017002" cy="31851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285128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2731874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День недели</a:t>
                          </a: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Отставание, мин</a:t>
                          </a: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Воскресенье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400" dirty="0"/>
                            <a:t>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Понедельник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+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Вторник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2 или 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Среда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3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или 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+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Четверг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или 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+ 24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+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Пятница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4+8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или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+ 24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+24</m:t>
                                </m:r>
                                <m:r>
                                  <a:rPr lang="en-US" sz="1400" b="0" i="0" dirty="0" smtClean="0">
                                    <a:latin typeface="Cambria Math"/>
                                  </a:rPr>
                                  <m:t>+8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18706642"/>
                  </p:ext>
                </p:extLst>
              </p:nvPr>
            </p:nvGraphicFramePr>
            <p:xfrm>
              <a:off x="1357255" y="2880415"/>
              <a:ext cx="4017002" cy="31851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285128"/>
                    <a:gridCol w="2731874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День недели</a:t>
                          </a:r>
                          <a:endParaRPr lang="ru-RU" sz="1400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Отставание, мин</a:t>
                          </a:r>
                          <a:endParaRPr lang="ru-RU" sz="1400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Воскресенье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400" dirty="0" smtClean="0"/>
                            <a:t>6</a:t>
                          </a:r>
                          <a:endParaRPr lang="ru-RU" sz="1400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Понедельник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205000" b="-568333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Вторник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215294" b="-301176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Среда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315294" b="-201176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Четверг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415294" b="-101176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Пятница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515294" b="-1176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ямоугольник 4"/>
          <p:cNvSpPr/>
          <p:nvPr/>
        </p:nvSpPr>
        <p:spPr>
          <a:xfrm>
            <a:off x="3200639" y="6116739"/>
            <a:ext cx="301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/>
              <a:t>6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178764" y="6125976"/>
            <a:ext cx="5485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10</a:t>
            </a:r>
            <a:endParaRPr lang="ru-RU" dirty="0"/>
          </a:p>
        </p:txBody>
      </p:sp>
      <p:pic>
        <p:nvPicPr>
          <p:cNvPr id="94211" name="Picture 3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20"/>
          <a:stretch/>
        </p:blipFill>
        <p:spPr bwMode="auto">
          <a:xfrm>
            <a:off x="6693259" y="3152328"/>
            <a:ext cx="4715713" cy="1445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6127453" y="225163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1534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780926" y="3106822"/>
            <a:ext cx="571072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cript" panose="030B0504020000000003" pitchFamily="66" charset="0"/>
                <a:cs typeface="Arial" panose="020B0604020202020204" pitchFamily="34" charset="0"/>
              </a:rPr>
              <a:t>Примеры заданий по математической грамотности</a:t>
            </a: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cript" panose="030B0504020000000003" pitchFamily="66" charset="0"/>
                <a:cs typeface="Arial" panose="020B0604020202020204" pitchFamily="34" charset="0"/>
              </a:rPr>
              <a:t>Критерии оценивания заданий по математической грамотности</a:t>
            </a:r>
          </a:p>
          <a:p>
            <a:pPr marL="342900" indent="-342900">
              <a:spcAft>
                <a:spcPts val="1200"/>
              </a:spcAft>
              <a:buFont typeface="Wingdings" panose="05000000000000000000" pitchFamily="2" charset="2"/>
              <a:buChar char="Ø"/>
            </a:pP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cript" panose="030B0504020000000003" pitchFamily="66" charset="0"/>
                <a:cs typeface="Arial" panose="020B0604020202020204" pitchFamily="34" charset="0"/>
              </a:rPr>
              <a:t>Полезные ресурсы для формирования функциональной грамотности и подготовки к </a:t>
            </a:r>
            <a:r>
              <a:rPr lang="en-US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cript" panose="030B0504020000000003" pitchFamily="66" charset="0"/>
                <a:cs typeface="Arial" panose="020B0604020202020204" pitchFamily="34" charset="0"/>
              </a:rPr>
              <a:t>PISA 2022</a:t>
            </a:r>
            <a:r>
              <a:rPr lang="ru-RU" sz="20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egoe Script" panose="030B0504020000000003" pitchFamily="66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A100460-BC07-4BD5-9032-9A48410BA5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5204" y="1039267"/>
            <a:ext cx="4267579" cy="29936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54F70212-A7D9-411E-8594-2A6D6D06CDEF}"/>
              </a:ext>
            </a:extLst>
          </p:cNvPr>
          <p:cNvSpPr/>
          <p:nvPr/>
        </p:nvSpPr>
        <p:spPr>
          <a:xfrm>
            <a:off x="1234043" y="1310939"/>
            <a:ext cx="426610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План работы</a:t>
            </a:r>
            <a:r>
              <a:rPr lang="en-US" sz="54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:</a:t>
            </a:r>
            <a:endParaRPr lang="ru-RU" sz="5400" b="1" cap="none" spc="0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658472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945" y="539579"/>
            <a:ext cx="2352819" cy="36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8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33" r="20174" b="85072"/>
          <a:stretch/>
        </p:blipFill>
        <p:spPr bwMode="auto">
          <a:xfrm>
            <a:off x="2380891" y="2405961"/>
            <a:ext cx="2242867" cy="474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16" y="6208772"/>
            <a:ext cx="4881698" cy="321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511" y="1019898"/>
            <a:ext cx="6258541" cy="1954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7" r="78994"/>
          <a:stretch/>
        </p:blipFill>
        <p:spPr bwMode="auto">
          <a:xfrm>
            <a:off x="168996" y="3260786"/>
            <a:ext cx="1235463" cy="1895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0851272"/>
                  </p:ext>
                </p:extLst>
              </p:nvPr>
            </p:nvGraphicFramePr>
            <p:xfrm>
              <a:off x="1357255" y="2880415"/>
              <a:ext cx="4017002" cy="31851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285128">
                      <a:extLst>
                        <a:ext uri="{9D8B030D-6E8A-4147-A177-3AD203B41FA5}">
                          <a16:colId xmlns:a16="http://schemas.microsoft.com/office/drawing/2014/main" val="20000"/>
                        </a:ext>
                      </a:extLst>
                    </a:gridCol>
                    <a:gridCol w="2731874">
                      <a:extLst>
                        <a:ext uri="{9D8B030D-6E8A-4147-A177-3AD203B41FA5}">
                          <a16:colId xmlns:a16="http://schemas.microsoft.com/office/drawing/2014/main" val="20001"/>
                        </a:ext>
                      </a:extLst>
                    </a:gridCol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День недели</a:t>
                          </a: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Отставание, мин</a:t>
                          </a:r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000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Воскресенье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400" dirty="0"/>
                            <a:t>6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1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Понедельник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+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2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Вторник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2 или 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3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Среда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3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или 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+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4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Четверг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или 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+ 24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+24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5"/>
                      </a:ext>
                    </a:extLst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/>
                            <a:t>Пятница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  <a:ea typeface="Cambria Math"/>
                                  </a:rPr>
                                  <m:t>∙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4+8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 или</m:t>
                                </m:r>
                              </m:oMath>
                            </m:oMathPara>
                          </a14:m>
                          <a:endParaRPr lang="en-US" sz="1400" i="1" dirty="0">
                            <a:latin typeface="Cambria Math"/>
                          </a:endParaRPr>
                        </a:p>
                        <a:p>
                          <a:pPr marL="0" marR="0" indent="0" algn="ctr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6 </m:t>
                                </m:r>
                                <m:r>
                                  <a:rPr lang="ru-RU" sz="1400" i="1" dirty="0">
                                    <a:latin typeface="Cambria Math"/>
                                  </a:rPr>
                                  <m:t>+ 24 + 24</m:t>
                                </m:r>
                                <m:r>
                                  <a:rPr lang="ru-RU" sz="1400" i="1" dirty="0" smtClean="0">
                                    <a:latin typeface="Cambria Math"/>
                                  </a:rPr>
                                  <m:t>+ 24</m:t>
                                </m:r>
                                <m:r>
                                  <a:rPr lang="en-US" sz="1400" b="0" i="1" dirty="0" smtClean="0">
                                    <a:latin typeface="Cambria Math"/>
                                  </a:rPr>
                                  <m:t>+24</m:t>
                                </m:r>
                                <m:r>
                                  <a:rPr lang="en-US" sz="1400" b="0" i="0" dirty="0" smtClean="0">
                                    <a:latin typeface="Cambria Math"/>
                                  </a:rPr>
                                  <m:t>+8</m:t>
                                </m:r>
                              </m:oMath>
                            </m:oMathPara>
                          </a14:m>
                          <a:endParaRPr lang="ru-RU" sz="1400" dirty="0"/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0006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20851272"/>
                  </p:ext>
                </p:extLst>
              </p:nvPr>
            </p:nvGraphicFramePr>
            <p:xfrm>
              <a:off x="1357255" y="2880415"/>
              <a:ext cx="4017002" cy="31851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1285128"/>
                    <a:gridCol w="2731874"/>
                  </a:tblGrid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День недели</a:t>
                          </a:r>
                          <a:endParaRPr lang="ru-RU" sz="1400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Отставание, мин</a:t>
                          </a:r>
                          <a:endParaRPr lang="ru-RU" sz="1400" dirty="0"/>
                        </a:p>
                      </a:txBody>
                      <a:tcPr>
                        <a:solidFill>
                          <a:schemeClr val="accent2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Воскресенье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algn="ctr"/>
                          <a:r>
                            <a:rPr lang="ru-RU" sz="1400" dirty="0" smtClean="0"/>
                            <a:t>6</a:t>
                          </a:r>
                          <a:endParaRPr lang="ru-RU" sz="1400" dirty="0"/>
                        </a:p>
                      </a:txBody>
                      <a:tcPr/>
                    </a:tc>
                  </a:tr>
                  <a:tr h="37084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Понедельник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205000" b="-568333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Вторник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215294" b="-301176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Среда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315294" b="-201176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Четверг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415294" b="-101176"/>
                          </a:stretch>
                        </a:blipFill>
                      </a:tcPr>
                    </a:tc>
                  </a:tr>
                  <a:tr h="518160">
                    <a:tc>
                      <a:txBody>
                        <a:bodyPr/>
                        <a:lstStyle/>
                        <a:p>
                          <a:r>
                            <a:rPr lang="ru-RU" sz="1400" dirty="0" smtClean="0"/>
                            <a:t>Пятница</a:t>
                          </a:r>
                          <a:endParaRPr lang="ru-RU" sz="14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1">
                          <a:blip r:embed="rId10"/>
                          <a:stretch>
                            <a:fillRect l="-47321" t="-515294" b="-1176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  <p:sp>
        <p:nvSpPr>
          <p:cNvPr id="5" name="Прямоугольник 4"/>
          <p:cNvSpPr/>
          <p:nvPr/>
        </p:nvSpPr>
        <p:spPr>
          <a:xfrm>
            <a:off x="3200639" y="6116739"/>
            <a:ext cx="3016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/>
              <a:t>6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178764" y="6125976"/>
            <a:ext cx="5485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10</a:t>
            </a:r>
            <a:endParaRPr lang="ru-RU" dirty="0"/>
          </a:p>
        </p:txBody>
      </p:sp>
      <p:pic>
        <p:nvPicPr>
          <p:cNvPr id="94211" name="Picture 3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20"/>
          <a:stretch/>
        </p:blipFill>
        <p:spPr bwMode="auto">
          <a:xfrm>
            <a:off x="6693259" y="3152328"/>
            <a:ext cx="4715713" cy="1445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6127453" y="225163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95234" name="Picture 2"/>
          <p:cNvPicPr>
            <a:picLocks noChangeAspect="1" noChangeArrowheads="1"/>
          </p:cNvPicPr>
          <p:nvPr/>
        </p:nvPicPr>
        <p:blipFill>
          <a:blip r:embed="rId12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937" y="1371471"/>
            <a:ext cx="4536086" cy="943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5235" name="Picture 3"/>
          <p:cNvPicPr>
            <a:picLocks noChangeAspect="1" noChangeArrowheads="1"/>
          </p:cNvPicPr>
          <p:nvPr/>
        </p:nvPicPr>
        <p:blipFill>
          <a:blip r:embed="rId13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3278" y="4840389"/>
            <a:ext cx="4767708" cy="1209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15229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945" y="539579"/>
            <a:ext cx="2352819" cy="36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6" y="1064643"/>
            <a:ext cx="6026004" cy="2827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" name="Группа 32"/>
          <p:cNvGrpSpPr/>
          <p:nvPr/>
        </p:nvGrpSpPr>
        <p:grpSpPr>
          <a:xfrm>
            <a:off x="-4215" y="3990521"/>
            <a:ext cx="6353258" cy="2373676"/>
            <a:chOff x="-4215" y="3990521"/>
            <a:chExt cx="6353258" cy="2373676"/>
          </a:xfrm>
        </p:grpSpPr>
        <p:pic>
          <p:nvPicPr>
            <p:cNvPr id="35" name="Picture 3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2"/>
            <a:stretch/>
          </p:blipFill>
          <p:spPr bwMode="auto">
            <a:xfrm>
              <a:off x="-4215" y="3990521"/>
              <a:ext cx="6353258" cy="23736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TextBox 36"/>
            <p:cNvSpPr txBox="1"/>
            <p:nvPr/>
          </p:nvSpPr>
          <p:spPr>
            <a:xfrm>
              <a:off x="1421435" y="4859784"/>
              <a:ext cx="12335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/>
                <a:t>(         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478579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945" y="539579"/>
            <a:ext cx="2352819" cy="36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46" y="1064643"/>
            <a:ext cx="6026004" cy="2827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04897" y="5926348"/>
            <a:ext cx="1975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инструктор</a:t>
            </a:r>
          </a:p>
        </p:txBody>
      </p:sp>
      <p:grpSp>
        <p:nvGrpSpPr>
          <p:cNvPr id="5" name="Группа 4"/>
          <p:cNvGrpSpPr/>
          <p:nvPr/>
        </p:nvGrpSpPr>
        <p:grpSpPr>
          <a:xfrm>
            <a:off x="-4215" y="3990521"/>
            <a:ext cx="6353258" cy="2373676"/>
            <a:chOff x="-4215" y="3990521"/>
            <a:chExt cx="6353258" cy="2373676"/>
          </a:xfrm>
        </p:grpSpPr>
        <p:pic>
          <p:nvPicPr>
            <p:cNvPr id="78851" name="Picture 3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2"/>
            <a:stretch/>
          </p:blipFill>
          <p:spPr bwMode="auto">
            <a:xfrm>
              <a:off x="-4215" y="3990521"/>
              <a:ext cx="6353258" cy="23736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TextBox 3"/>
            <p:cNvSpPr txBox="1"/>
            <p:nvPr/>
          </p:nvSpPr>
          <p:spPr>
            <a:xfrm>
              <a:off x="1421435" y="4859784"/>
              <a:ext cx="12335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/>
                <a:t>(         )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6758178" y="1064643"/>
            <a:ext cx="5304245" cy="2588023"/>
            <a:chOff x="6758178" y="1064643"/>
            <a:chExt cx="5304245" cy="2588023"/>
          </a:xfrm>
        </p:grpSpPr>
        <p:pic>
          <p:nvPicPr>
            <p:cNvPr id="78852" name="Picture 4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8178" y="1064643"/>
              <a:ext cx="5304245" cy="25880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7944929" y="1305703"/>
              <a:ext cx="12335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/>
                <a:t>(         )</a:t>
              </a:r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1354023" y="5919233"/>
            <a:ext cx="115871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/>
              <a:t>инструктор</a:t>
            </a:r>
          </a:p>
        </p:txBody>
      </p:sp>
      <p:pic>
        <p:nvPicPr>
          <p:cNvPr id="96258" name="Picture 2"/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0039" y="4296730"/>
            <a:ext cx="5040521" cy="994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01768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945" y="539579"/>
            <a:ext cx="2352819" cy="36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9" y="1280394"/>
            <a:ext cx="5887431" cy="2500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583507"/>
            <a:ext cx="5762836" cy="3528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434567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945" y="539579"/>
            <a:ext cx="2352819" cy="36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9" y="1280394"/>
            <a:ext cx="5887431" cy="2500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583507"/>
            <a:ext cx="5762836" cy="3528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28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716" y="4396782"/>
            <a:ext cx="5319559" cy="1335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927011" y="3795708"/>
            <a:ext cx="1535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486 рублей</a:t>
            </a:r>
          </a:p>
        </p:txBody>
      </p:sp>
    </p:spTree>
    <p:extLst>
      <p:ext uri="{BB962C8B-B14F-4D97-AF65-F5344CB8AC3E}">
        <p14:creationId xmlns:p14="http://schemas.microsoft.com/office/powerpoint/2010/main" val="33825803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945" y="539579"/>
            <a:ext cx="2352819" cy="36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9" y="1280394"/>
            <a:ext cx="5887431" cy="2500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583507"/>
            <a:ext cx="5762836" cy="3528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282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716" y="4396782"/>
            <a:ext cx="5319559" cy="1335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927011" y="3795708"/>
            <a:ext cx="1535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486 рублей</a:t>
            </a:r>
          </a:p>
        </p:txBody>
      </p:sp>
      <p:pic>
        <p:nvPicPr>
          <p:cNvPr id="98306" name="Picture 2"/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6107" y="4397952"/>
            <a:ext cx="5222049" cy="118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15486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49850"/>
            <a:ext cx="22955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442" y="840087"/>
            <a:ext cx="24193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1255143"/>
            <a:ext cx="5930563" cy="2530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9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3981810"/>
            <a:ext cx="5930563" cy="1293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780791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49850"/>
            <a:ext cx="22955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442" y="840087"/>
            <a:ext cx="24193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1255143"/>
            <a:ext cx="5930563" cy="2530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9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3981810"/>
            <a:ext cx="5930563" cy="1293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9924" y="1574223"/>
            <a:ext cx="5399597" cy="1140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786728" y="4967355"/>
            <a:ext cx="1535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1 класс</a:t>
            </a:r>
          </a:p>
        </p:txBody>
      </p:sp>
    </p:spTree>
    <p:extLst>
      <p:ext uri="{BB962C8B-B14F-4D97-AF65-F5344CB8AC3E}">
        <p14:creationId xmlns:p14="http://schemas.microsoft.com/office/powerpoint/2010/main" val="373938805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49850"/>
            <a:ext cx="22955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442" y="840087"/>
            <a:ext cx="24193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1255143"/>
            <a:ext cx="5930563" cy="2530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9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3981810"/>
            <a:ext cx="5930563" cy="1293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933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9924" y="1574223"/>
            <a:ext cx="5399597" cy="1140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786728" y="4967355"/>
            <a:ext cx="15355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/>
              <a:t>1 класс</a:t>
            </a:r>
          </a:p>
        </p:txBody>
      </p:sp>
      <p:pic>
        <p:nvPicPr>
          <p:cNvPr id="100354" name="Picture 2"/>
          <p:cNvPicPr>
            <a:picLocks noChangeAspect="1" noChangeArrowheads="1"/>
          </p:cNvPicPr>
          <p:nvPr/>
        </p:nvPicPr>
        <p:blipFill>
          <a:blip r:embed="rId8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5650" y="3853291"/>
            <a:ext cx="5195133" cy="1076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159043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49850"/>
            <a:ext cx="22955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442" y="840087"/>
            <a:ext cx="24193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1255143"/>
            <a:ext cx="5930563" cy="2530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8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299"/>
          <a:stretch/>
        </p:blipFill>
        <p:spPr bwMode="auto">
          <a:xfrm>
            <a:off x="108281" y="3785517"/>
            <a:ext cx="4610368" cy="2458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0" t="11444" b="36838"/>
          <a:stretch/>
        </p:blipFill>
        <p:spPr bwMode="auto">
          <a:xfrm>
            <a:off x="6092949" y="1135362"/>
            <a:ext cx="4779446" cy="1677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303" b="16551"/>
          <a:stretch/>
        </p:blipFill>
        <p:spPr bwMode="auto">
          <a:xfrm>
            <a:off x="11007307" y="921325"/>
            <a:ext cx="1086928" cy="2233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335" b="42036"/>
          <a:stretch/>
        </p:blipFill>
        <p:spPr bwMode="auto">
          <a:xfrm>
            <a:off x="4110792" y="4561895"/>
            <a:ext cx="1337095" cy="142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132236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3291210" y="332326"/>
            <a:ext cx="10029387" cy="370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0" b="1" spc="-20" dirty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Международная оценка качества образования</a:t>
            </a:r>
          </a:p>
        </p:txBody>
      </p:sp>
      <p:sp>
        <p:nvSpPr>
          <p:cNvPr id="25" name="Rectangle 2"/>
          <p:cNvSpPr>
            <a:spLocks noGrp="1" noRot="1" noChangeArrowheads="1"/>
          </p:cNvSpPr>
          <p:nvPr>
            <p:ph type="title"/>
          </p:nvPr>
        </p:nvSpPr>
        <p:spPr>
          <a:xfrm>
            <a:off x="342900" y="990600"/>
            <a:ext cx="11591798" cy="1000125"/>
          </a:xfrm>
        </p:spPr>
        <p:txBody>
          <a:bodyPr>
            <a:normAutofit/>
          </a:bodyPr>
          <a:lstStyle/>
          <a:p>
            <a:pPr marL="54864" algn="ctr" eaLnBrk="1" fontAlgn="auto" hangingPunct="1">
              <a:spcAft>
                <a:spcPts val="0"/>
              </a:spcAft>
              <a:defRPr/>
            </a:pPr>
            <a:r>
              <a:rPr lang="ru-RU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дель математической грамотности. </a:t>
            </a:r>
            <a:r>
              <a:rPr lang="en-US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32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 rotWithShape="1">
          <a:blip r:embed="rId2"/>
          <a:srcRect t="15981"/>
          <a:stretch/>
        </p:blipFill>
        <p:spPr>
          <a:xfrm>
            <a:off x="855198" y="2758760"/>
            <a:ext cx="10620783" cy="3326989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A048276-2F92-4DF4-A32C-4DAD491749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302" y="-2967"/>
            <a:ext cx="2645893" cy="2761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7482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49850"/>
            <a:ext cx="22955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442" y="840087"/>
            <a:ext cx="24193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1255143"/>
            <a:ext cx="5930563" cy="2530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8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299"/>
          <a:stretch/>
        </p:blipFill>
        <p:spPr bwMode="auto">
          <a:xfrm>
            <a:off x="108281" y="3785517"/>
            <a:ext cx="4610368" cy="2458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0" t="11444" b="36838"/>
          <a:stretch/>
        </p:blipFill>
        <p:spPr bwMode="auto">
          <a:xfrm>
            <a:off x="6092949" y="1135362"/>
            <a:ext cx="4779446" cy="1677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303" b="16551"/>
          <a:stretch/>
        </p:blipFill>
        <p:spPr bwMode="auto">
          <a:xfrm>
            <a:off x="11007307" y="921325"/>
            <a:ext cx="1086928" cy="2233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335" b="42036"/>
          <a:stretch/>
        </p:blipFill>
        <p:spPr bwMode="auto">
          <a:xfrm>
            <a:off x="4110792" y="4561895"/>
            <a:ext cx="1337095" cy="142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1811225" y="4916905"/>
                <a:ext cx="2493356" cy="11695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Примеры решений.</a:t>
                </a:r>
              </a:p>
              <a:p>
                <a:pPr marL="342900" indent="-342900">
                  <a:buAutoNum type="arabicPeriod"/>
                </a:pPr>
                <a14:m>
                  <m:oMath xmlns:m="http://schemas.openxmlformats.org/officeDocument/2006/math">
                    <m:r>
                      <a:rPr lang="ru-RU" sz="1400" b="0" i="0" dirty="0" smtClean="0">
                        <a:latin typeface="Cambria Math"/>
                      </a:rPr>
                      <m:t>1 </m:t>
                    </m:r>
                    <m:r>
                      <a:rPr lang="ru-RU" sz="1400" b="0" i="0" dirty="0">
                        <a:latin typeface="Cambria Math"/>
                      </a:rPr>
                      <m:t>ч = 60</m:t>
                    </m:r>
                    <m:r>
                      <a:rPr lang="ru-RU" sz="1400" b="0" i="0" dirty="0" smtClean="0">
                        <a:latin typeface="Cambria Math"/>
                        <a:ea typeface="Cambria Math"/>
                      </a:rPr>
                      <m:t>∙</m:t>
                    </m:r>
                    <m:r>
                      <a:rPr lang="ru-RU" sz="1400" b="0" i="0" dirty="0">
                        <a:latin typeface="Cambria Math"/>
                      </a:rPr>
                      <m:t>60 = 3600 </m:t>
                    </m:r>
                  </m:oMath>
                </a14:m>
                <a:r>
                  <a:rPr lang="ru-RU" sz="1400" dirty="0"/>
                  <a:t>с; </a:t>
                </a:r>
              </a:p>
              <a:p>
                <a:r>
                  <a:rPr lang="ru-RU" sz="1400" dirty="0"/>
                  <a:t>3600 : 40 = 90 (суток).</a:t>
                </a:r>
              </a:p>
              <a:p>
                <a:r>
                  <a:rPr lang="ru-RU" sz="1400" dirty="0"/>
                  <a:t>2.</a:t>
                </a:r>
                <a:r>
                  <a:rPr lang="ru-RU" sz="1400" b="1" dirty="0"/>
                  <a:t> </a:t>
                </a:r>
                <a:r>
                  <a:rPr lang="ru-RU" sz="1400" dirty="0"/>
                  <a:t>В 1 ч – 3600 с; </a:t>
                </a:r>
              </a:p>
              <a:p>
                <a:r>
                  <a:rPr lang="ru-RU" sz="1400" dirty="0"/>
                  <a:t>3600 : 40 — это 90 (суток).</a:t>
                </a:r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1225" y="4916905"/>
                <a:ext cx="2493356" cy="1169551"/>
              </a:xfrm>
              <a:prstGeom prst="rect">
                <a:avLst/>
              </a:prstGeom>
              <a:blipFill rotWithShape="1">
                <a:blip r:embed="rId10"/>
                <a:stretch>
                  <a:fillRect l="-489" t="-524" r="-978" b="-471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Box 32"/>
          <p:cNvSpPr txBox="1"/>
          <p:nvPr/>
        </p:nvSpPr>
        <p:spPr>
          <a:xfrm>
            <a:off x="375396" y="5776188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14927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49850"/>
            <a:ext cx="22955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442" y="840087"/>
            <a:ext cx="24193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8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1255143"/>
            <a:ext cx="5930563" cy="2530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8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299"/>
          <a:stretch/>
        </p:blipFill>
        <p:spPr bwMode="auto">
          <a:xfrm>
            <a:off x="108281" y="3785517"/>
            <a:ext cx="4610368" cy="2458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0" t="11444" b="36838"/>
          <a:stretch/>
        </p:blipFill>
        <p:spPr bwMode="auto">
          <a:xfrm>
            <a:off x="6092949" y="1135362"/>
            <a:ext cx="4779446" cy="1677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303" b="16551"/>
          <a:stretch/>
        </p:blipFill>
        <p:spPr bwMode="auto">
          <a:xfrm>
            <a:off x="11007307" y="921325"/>
            <a:ext cx="1086928" cy="2233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335" b="42036"/>
          <a:stretch/>
        </p:blipFill>
        <p:spPr bwMode="auto">
          <a:xfrm>
            <a:off x="4110792" y="4561895"/>
            <a:ext cx="1337095" cy="142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1811225" y="4916905"/>
                <a:ext cx="2493356" cy="11695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Примеры решений.</a:t>
                </a:r>
              </a:p>
              <a:p>
                <a:pPr marL="342900" indent="-342900">
                  <a:buAutoNum type="arabicPeriod"/>
                </a:pPr>
                <a14:m>
                  <m:oMath xmlns:m="http://schemas.openxmlformats.org/officeDocument/2006/math">
                    <m:r>
                      <a:rPr lang="ru-RU" sz="1400" b="0" i="0" dirty="0" smtClean="0">
                        <a:latin typeface="Cambria Math"/>
                      </a:rPr>
                      <m:t>1 </m:t>
                    </m:r>
                    <m:r>
                      <a:rPr lang="ru-RU" sz="1400" b="0" i="0" dirty="0">
                        <a:latin typeface="Cambria Math"/>
                      </a:rPr>
                      <m:t>ч = 60</m:t>
                    </m:r>
                    <m:r>
                      <a:rPr lang="ru-RU" sz="1400" b="0" i="0" dirty="0" smtClean="0">
                        <a:latin typeface="Cambria Math"/>
                        <a:ea typeface="Cambria Math"/>
                      </a:rPr>
                      <m:t>∙</m:t>
                    </m:r>
                    <m:r>
                      <a:rPr lang="ru-RU" sz="1400" b="0" i="0" dirty="0">
                        <a:latin typeface="Cambria Math"/>
                      </a:rPr>
                      <m:t>60 = 3600 </m:t>
                    </m:r>
                  </m:oMath>
                </a14:m>
                <a:r>
                  <a:rPr lang="ru-RU" sz="1400" dirty="0"/>
                  <a:t>с; </a:t>
                </a:r>
              </a:p>
              <a:p>
                <a:r>
                  <a:rPr lang="ru-RU" sz="1400" dirty="0"/>
                  <a:t>3600 : 40 = 90 (суток).</a:t>
                </a:r>
              </a:p>
              <a:p>
                <a:r>
                  <a:rPr lang="ru-RU" sz="1400" dirty="0"/>
                  <a:t>2.</a:t>
                </a:r>
                <a:r>
                  <a:rPr lang="ru-RU" sz="1400" b="1" dirty="0"/>
                  <a:t> </a:t>
                </a:r>
                <a:r>
                  <a:rPr lang="ru-RU" sz="1400" dirty="0"/>
                  <a:t>В 1 ч – 3600 с; </a:t>
                </a:r>
              </a:p>
              <a:p>
                <a:r>
                  <a:rPr lang="ru-RU" sz="1400" dirty="0"/>
                  <a:t>3600 : 40 — это 90 (суток).</a:t>
                </a:r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1225" y="4916905"/>
                <a:ext cx="2493356" cy="1169551"/>
              </a:xfrm>
              <a:prstGeom prst="rect">
                <a:avLst/>
              </a:prstGeom>
              <a:blipFill rotWithShape="1">
                <a:blip r:embed="rId10"/>
                <a:stretch>
                  <a:fillRect l="-489" t="-524" r="-978" b="-471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Box 32"/>
          <p:cNvSpPr txBox="1"/>
          <p:nvPr/>
        </p:nvSpPr>
        <p:spPr>
          <a:xfrm>
            <a:off x="375396" y="5776188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01378" name="Picture 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54087"/>
          <a:stretch/>
        </p:blipFill>
        <p:spPr bwMode="auto">
          <a:xfrm>
            <a:off x="6307707" y="3288743"/>
            <a:ext cx="5243064" cy="912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609162" y="2830391"/>
            <a:ext cx="15570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Ответ.</a:t>
            </a:r>
            <a:r>
              <a:rPr lang="ru-RU" sz="1600" dirty="0"/>
              <a:t> 76 минут</a:t>
            </a:r>
          </a:p>
        </p:txBody>
      </p:sp>
    </p:spTree>
    <p:extLst>
      <p:ext uri="{BB962C8B-B14F-4D97-AF65-F5344CB8AC3E}">
        <p14:creationId xmlns:p14="http://schemas.microsoft.com/office/powerpoint/2010/main" val="6743980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987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49850"/>
            <a:ext cx="22955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7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442" y="840087"/>
            <a:ext cx="2419350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299"/>
          <a:stretch/>
        </p:blipFill>
        <p:spPr bwMode="auto">
          <a:xfrm>
            <a:off x="108281" y="3785517"/>
            <a:ext cx="4610368" cy="2458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00" t="11444" b="36838"/>
          <a:stretch/>
        </p:blipFill>
        <p:spPr bwMode="auto">
          <a:xfrm>
            <a:off x="6092949" y="1135362"/>
            <a:ext cx="4779446" cy="1677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303" b="16551"/>
          <a:stretch/>
        </p:blipFill>
        <p:spPr bwMode="auto">
          <a:xfrm>
            <a:off x="11007307" y="921325"/>
            <a:ext cx="1086928" cy="2233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335" b="42036"/>
          <a:stretch/>
        </p:blipFill>
        <p:spPr bwMode="auto">
          <a:xfrm>
            <a:off x="4110792" y="4561895"/>
            <a:ext cx="1337095" cy="142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1811225" y="4916905"/>
                <a:ext cx="2493356" cy="1169551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Примеры решений.</a:t>
                </a:r>
              </a:p>
              <a:p>
                <a:pPr marL="342900" indent="-342900">
                  <a:buAutoNum type="arabicPeriod"/>
                </a:pPr>
                <a14:m>
                  <m:oMath xmlns:m="http://schemas.openxmlformats.org/officeDocument/2006/math">
                    <m:r>
                      <a:rPr lang="ru-RU" sz="1400" b="0" i="0" dirty="0" smtClean="0">
                        <a:latin typeface="Cambria Math"/>
                      </a:rPr>
                      <m:t>1 </m:t>
                    </m:r>
                    <m:r>
                      <a:rPr lang="ru-RU" sz="1400" b="0" i="0" dirty="0">
                        <a:latin typeface="Cambria Math"/>
                      </a:rPr>
                      <m:t>ч = 60</m:t>
                    </m:r>
                    <m:r>
                      <a:rPr lang="ru-RU" sz="1400" b="0" i="0" dirty="0" smtClean="0">
                        <a:latin typeface="Cambria Math"/>
                        <a:ea typeface="Cambria Math"/>
                      </a:rPr>
                      <m:t>∙</m:t>
                    </m:r>
                    <m:r>
                      <a:rPr lang="ru-RU" sz="1400" b="0" i="0" dirty="0">
                        <a:latin typeface="Cambria Math"/>
                      </a:rPr>
                      <m:t>60 = 3600 </m:t>
                    </m:r>
                  </m:oMath>
                </a14:m>
                <a:r>
                  <a:rPr lang="ru-RU" sz="1400" dirty="0"/>
                  <a:t>с; </a:t>
                </a:r>
              </a:p>
              <a:p>
                <a:r>
                  <a:rPr lang="ru-RU" sz="1400" dirty="0"/>
                  <a:t>3600 : 40 = 90 (суток).</a:t>
                </a:r>
              </a:p>
              <a:p>
                <a:r>
                  <a:rPr lang="ru-RU" sz="1400" dirty="0"/>
                  <a:t>2.</a:t>
                </a:r>
                <a:r>
                  <a:rPr lang="ru-RU" sz="1400" b="1" dirty="0"/>
                  <a:t> </a:t>
                </a:r>
                <a:r>
                  <a:rPr lang="ru-RU" sz="1400" dirty="0"/>
                  <a:t>В 1 ч – 3600 с; </a:t>
                </a:r>
              </a:p>
              <a:p>
                <a:r>
                  <a:rPr lang="ru-RU" sz="1400" dirty="0"/>
                  <a:t>3600 : 40 — это 90 (суток).</a:t>
                </a:r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11225" y="4916905"/>
                <a:ext cx="2493356" cy="1169551"/>
              </a:xfrm>
              <a:prstGeom prst="rect">
                <a:avLst/>
              </a:prstGeom>
              <a:blipFill rotWithShape="1">
                <a:blip r:embed="rId9"/>
                <a:stretch>
                  <a:fillRect l="-489" t="-524" r="-978" b="-4712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3" name="TextBox 32"/>
          <p:cNvSpPr txBox="1"/>
          <p:nvPr/>
        </p:nvSpPr>
        <p:spPr>
          <a:xfrm>
            <a:off x="375396" y="5776188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01378" name="Picture 2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54087"/>
          <a:stretch/>
        </p:blipFill>
        <p:spPr bwMode="auto">
          <a:xfrm>
            <a:off x="6307707" y="3288743"/>
            <a:ext cx="5243064" cy="912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8609162" y="2830391"/>
            <a:ext cx="15570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/>
              <a:t>Ответ.</a:t>
            </a:r>
            <a:r>
              <a:rPr lang="ru-RU" sz="1600" dirty="0"/>
              <a:t> 76 минут</a:t>
            </a:r>
          </a:p>
        </p:txBody>
      </p:sp>
      <p:pic>
        <p:nvPicPr>
          <p:cNvPr id="102402" name="Picture 2"/>
          <p:cNvPicPr>
            <a:picLocks noChangeAspect="1" noChangeArrowheads="1"/>
          </p:cNvPicPr>
          <p:nvPr/>
        </p:nvPicPr>
        <p:blipFill>
          <a:blip r:embed="rId11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6287" y="4470757"/>
            <a:ext cx="5293881" cy="1515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03" name="Picture 3"/>
          <p:cNvPicPr>
            <a:picLocks noChangeAspect="1" noChangeArrowheads="1"/>
          </p:cNvPicPr>
          <p:nvPr/>
        </p:nvPicPr>
        <p:blipFill>
          <a:blip r:embed="rId12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5" y="2037924"/>
            <a:ext cx="5446365" cy="1154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6434924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263377"/>
            <a:ext cx="4171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39840"/>
            <a:ext cx="5756874" cy="125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0226" y="2829465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9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4248870"/>
            <a:ext cx="5921937" cy="637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30" name="Picture 1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67" y="5015901"/>
            <a:ext cx="819150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6383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263377"/>
            <a:ext cx="4171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39840"/>
            <a:ext cx="5756874" cy="125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0226" y="2829465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9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4248870"/>
            <a:ext cx="5921937" cy="637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30" name="Picture 1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67" y="5015901"/>
            <a:ext cx="819150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270425" y="5714338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737" y="880218"/>
            <a:ext cx="2990850" cy="235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27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4730" y="1463401"/>
            <a:ext cx="1652306" cy="1769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17669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263377"/>
            <a:ext cx="4171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39840"/>
            <a:ext cx="5756874" cy="125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0226" y="2829465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9" name="Picture 9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216" y="4248870"/>
            <a:ext cx="5921937" cy="637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30" name="Picture 10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67" y="5015901"/>
            <a:ext cx="819150" cy="1104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270425" y="5714338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103426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1737" y="880218"/>
            <a:ext cx="2990850" cy="235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27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4730" y="1463401"/>
            <a:ext cx="1652306" cy="17694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351736" y="4007212"/>
            <a:ext cx="5526837" cy="1077218"/>
          </a:xfrm>
          <a:prstGeom prst="rect">
            <a:avLst/>
          </a:prstGeom>
          <a:solidFill>
            <a:srgbClr val="D8EBF4"/>
          </a:solidFill>
        </p:spPr>
        <p:txBody>
          <a:bodyPr wrap="square">
            <a:spAutoFit/>
          </a:bodyPr>
          <a:lstStyle/>
          <a:p>
            <a:r>
              <a:rPr lang="ru-RU" sz="1600" b="1" dirty="0"/>
              <a:t>1 балл </a:t>
            </a:r>
            <a:r>
              <a:rPr lang="ru-RU" sz="1600" dirty="0"/>
              <a:t>— дан верный</a:t>
            </a:r>
            <a:r>
              <a:rPr lang="en-US" sz="1600" dirty="0"/>
              <a:t> </a:t>
            </a:r>
            <a:r>
              <a:rPr lang="ru-RU" sz="1600" dirty="0"/>
              <a:t>ответ и приведено</a:t>
            </a:r>
            <a:r>
              <a:rPr lang="en-US" sz="1600" dirty="0"/>
              <a:t> </a:t>
            </a:r>
            <a:r>
              <a:rPr lang="ru-RU" sz="1600" dirty="0"/>
              <a:t>обоснование (алгебраическое или геометрическое);</a:t>
            </a:r>
          </a:p>
          <a:p>
            <a:r>
              <a:rPr lang="ru-RU" sz="1600" b="1" dirty="0"/>
              <a:t>0 баллов </a:t>
            </a:r>
            <a:r>
              <a:rPr lang="ru-RU" sz="1600" dirty="0"/>
              <a:t>— дан другой</a:t>
            </a:r>
            <a:r>
              <a:rPr lang="en-US" sz="1600" dirty="0"/>
              <a:t> </a:t>
            </a:r>
            <a:r>
              <a:rPr lang="ru-RU" sz="1600" dirty="0"/>
              <a:t>ответ ИЛИ ответ отсутствует ИЛИ дан верный ответ, но обоснование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3571211326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263377"/>
            <a:ext cx="4171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39840"/>
            <a:ext cx="5756874" cy="125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249" y="384851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604268"/>
            <a:ext cx="5776639" cy="49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7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5574889"/>
            <a:ext cx="5543909" cy="857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038034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263377"/>
            <a:ext cx="4171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39840"/>
            <a:ext cx="5756874" cy="125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249" y="384851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604268"/>
            <a:ext cx="5776639" cy="49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7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5574889"/>
            <a:ext cx="5543909" cy="857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9411419" y="5727940"/>
            <a:ext cx="457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10</a:t>
            </a:r>
            <a:endParaRPr lang="ru-RU" sz="1600" dirty="0"/>
          </a:p>
        </p:txBody>
      </p:sp>
      <p:sp>
        <p:nvSpPr>
          <p:cNvPr id="33" name="TextBox 32"/>
          <p:cNvSpPr txBox="1"/>
          <p:nvPr/>
        </p:nvSpPr>
        <p:spPr>
          <a:xfrm>
            <a:off x="10187796" y="6003882"/>
            <a:ext cx="457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20</a:t>
            </a:r>
            <a:endParaRPr lang="ru-RU" sz="1600" dirty="0"/>
          </a:p>
        </p:txBody>
      </p:sp>
      <p:sp>
        <p:nvSpPr>
          <p:cNvPr id="34" name="TextBox 33"/>
          <p:cNvSpPr txBox="1"/>
          <p:nvPr/>
        </p:nvSpPr>
        <p:spPr>
          <a:xfrm>
            <a:off x="10964172" y="6021032"/>
            <a:ext cx="457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5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98736238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263377"/>
            <a:ext cx="4171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39840"/>
            <a:ext cx="5756874" cy="125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249" y="384851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604268"/>
            <a:ext cx="5776639" cy="49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7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5574889"/>
            <a:ext cx="5543909" cy="857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9411419" y="5727940"/>
            <a:ext cx="457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10</a:t>
            </a:r>
            <a:endParaRPr lang="ru-RU" sz="1600" dirty="0"/>
          </a:p>
        </p:txBody>
      </p:sp>
      <p:sp>
        <p:nvSpPr>
          <p:cNvPr id="33" name="TextBox 32"/>
          <p:cNvSpPr txBox="1"/>
          <p:nvPr/>
        </p:nvSpPr>
        <p:spPr>
          <a:xfrm>
            <a:off x="10187796" y="6003882"/>
            <a:ext cx="457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20</a:t>
            </a:r>
            <a:endParaRPr lang="ru-RU" sz="1600" dirty="0"/>
          </a:p>
        </p:txBody>
      </p:sp>
      <p:sp>
        <p:nvSpPr>
          <p:cNvPr id="34" name="TextBox 33"/>
          <p:cNvSpPr txBox="1"/>
          <p:nvPr/>
        </p:nvSpPr>
        <p:spPr>
          <a:xfrm>
            <a:off x="10964172" y="6021032"/>
            <a:ext cx="4578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5</a:t>
            </a:r>
            <a:endParaRPr lang="ru-RU" sz="16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40697" y="3659281"/>
            <a:ext cx="5448558" cy="1107996"/>
          </a:xfrm>
          <a:prstGeom prst="rect">
            <a:avLst/>
          </a:prstGeom>
          <a:solidFill>
            <a:srgbClr val="D1E2F3"/>
          </a:solidFill>
        </p:spPr>
        <p:txBody>
          <a:bodyPr wrap="square">
            <a:spAutoFit/>
          </a:bodyPr>
          <a:lstStyle/>
          <a:p>
            <a:r>
              <a:rPr lang="ru-RU" sz="1600" b="1" dirty="0"/>
              <a:t>2 балла </a:t>
            </a:r>
            <a:r>
              <a:rPr lang="ru-RU" sz="1600" dirty="0"/>
              <a:t>— верно даны</a:t>
            </a:r>
            <a:r>
              <a:rPr lang="en-US" sz="1600" dirty="0"/>
              <a:t> </a:t>
            </a:r>
            <a:r>
              <a:rPr lang="ru-RU" sz="1600" dirty="0"/>
              <a:t>оба ответа;</a:t>
            </a:r>
          </a:p>
          <a:p>
            <a:r>
              <a:rPr lang="ru-RU" sz="1600" b="1" dirty="0"/>
              <a:t>1 балл </a:t>
            </a:r>
            <a:r>
              <a:rPr lang="ru-RU" sz="1600" dirty="0"/>
              <a:t>— верно дан</a:t>
            </a:r>
            <a:r>
              <a:rPr lang="en-US" sz="1600" dirty="0"/>
              <a:t> </a:t>
            </a:r>
            <a:r>
              <a:rPr lang="ru-RU" sz="1600" dirty="0"/>
              <a:t>один из ответов, второй ответ дан не верно</a:t>
            </a:r>
            <a:r>
              <a:rPr lang="en-US" sz="1600" dirty="0"/>
              <a:t> </a:t>
            </a:r>
            <a:r>
              <a:rPr lang="ru-RU" sz="1600" dirty="0"/>
              <a:t>ИЛИ ответ отсутствует;</a:t>
            </a:r>
          </a:p>
          <a:p>
            <a:r>
              <a:rPr lang="ru-RU" sz="1600" b="1" dirty="0"/>
              <a:t>0 баллов </a:t>
            </a:r>
            <a:r>
              <a:rPr lang="ru-RU" sz="1600" dirty="0"/>
              <a:t>— дан другой</a:t>
            </a:r>
            <a:r>
              <a:rPr lang="en-US" sz="1600" dirty="0"/>
              <a:t> </a:t>
            </a:r>
            <a:r>
              <a:rPr lang="ru-RU" sz="1600" dirty="0"/>
              <a:t>ответ ИЛИ ответ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150218717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6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263377"/>
            <a:ext cx="4171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7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39840"/>
            <a:ext cx="5756874" cy="125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249" y="384851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68" y="3244790"/>
            <a:ext cx="6301498" cy="2779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445933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бота с ситуацией (контекстом)</a:t>
            </a:r>
            <a:endParaRPr lang="ru-RU" sz="2000" dirty="0"/>
          </a:p>
        </p:txBody>
      </p:sp>
      <p:pic>
        <p:nvPicPr>
          <p:cNvPr id="9728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916"/>
          <a:stretch/>
        </p:blipFill>
        <p:spPr bwMode="auto">
          <a:xfrm>
            <a:off x="-4216" y="802255"/>
            <a:ext cx="5240558" cy="5382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33" t="79028" r="29935"/>
          <a:stretch/>
        </p:blipFill>
        <p:spPr bwMode="auto">
          <a:xfrm>
            <a:off x="8145595" y="1207697"/>
            <a:ext cx="1820173" cy="1427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2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6271" y="2922018"/>
            <a:ext cx="5543550" cy="306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7179905" y="393053"/>
            <a:ext cx="3260316" cy="52322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800" b="1" cap="none" spc="0" dirty="0">
                <a:ln w="10541" cmpd="sng">
                  <a:solidFill>
                    <a:schemeClr val="accent1">
                      <a:shade val="88000"/>
                      <a:satMod val="11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1">
                        <a:tint val="40000"/>
                        <a:satMod val="250000"/>
                      </a:schemeClr>
                    </a:gs>
                    <a:gs pos="9000">
                      <a:schemeClr val="accent1">
                        <a:tint val="52000"/>
                        <a:satMod val="300000"/>
                      </a:schemeClr>
                    </a:gs>
                    <a:gs pos="50000">
                      <a:schemeClr val="accent1">
                        <a:shade val="20000"/>
                        <a:satMod val="300000"/>
                      </a:schemeClr>
                    </a:gs>
                    <a:gs pos="79000">
                      <a:schemeClr val="accent1">
                        <a:tint val="52000"/>
                        <a:satMod val="300000"/>
                      </a:schemeClr>
                    </a:gs>
                    <a:gs pos="100000">
                      <a:schemeClr val="accent1">
                        <a:tint val="40000"/>
                        <a:satMod val="250000"/>
                      </a:schemeClr>
                    </a:gs>
                  </a:gsLst>
                  <a:lin ang="5400000"/>
                </a:gradFill>
                <a:effectLst/>
              </a:rPr>
              <a:t>Домашнее задание</a:t>
            </a:r>
          </a:p>
        </p:txBody>
      </p:sp>
    </p:spTree>
    <p:extLst>
      <p:ext uri="{BB962C8B-B14F-4D97-AF65-F5344CB8AC3E}">
        <p14:creationId xmlns:p14="http://schemas.microsoft.com/office/powerpoint/2010/main" val="152139780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4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2530" y="2825770"/>
            <a:ext cx="2176419" cy="190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6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263377"/>
            <a:ext cx="4171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7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39840"/>
            <a:ext cx="5756874" cy="125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249" y="384851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68" y="3244790"/>
            <a:ext cx="6301498" cy="2779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129281" y="6016453"/>
            <a:ext cx="23770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/>
              <a:t>Ответ: </a:t>
            </a:r>
            <a:r>
              <a:rPr lang="ru-RU" sz="1600" dirty="0"/>
              <a:t>17 см или 17,3 см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691223" y="176489"/>
            <a:ext cx="5351252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Возможные решения.</a:t>
            </a:r>
          </a:p>
          <a:p>
            <a:r>
              <a:rPr lang="ru-RU" sz="1600" i="1" dirty="0"/>
              <a:t>Решение 1:</a:t>
            </a:r>
          </a:p>
          <a:p>
            <a:r>
              <a:rPr lang="ru-RU" sz="1600" dirty="0"/>
              <a:t>На шаге 1 получается равносторонний треугольник (сторона </a:t>
            </a:r>
            <a:r>
              <a:rPr lang="ru-RU" sz="1600" i="1" dirty="0"/>
              <a:t>АС</a:t>
            </a:r>
            <a:r>
              <a:rPr lang="ru-RU" sz="1600" dirty="0"/>
              <a:t>,</a:t>
            </a:r>
            <a:r>
              <a:rPr lang="en-US" sz="1600" dirty="0"/>
              <a:t> </a:t>
            </a:r>
            <a:r>
              <a:rPr lang="ru-RU" sz="1600" dirty="0"/>
              <a:t>высота </a:t>
            </a:r>
            <a:r>
              <a:rPr lang="ru-RU" sz="1600" i="1" dirty="0"/>
              <a:t>АВ</a:t>
            </a:r>
            <a:r>
              <a:rPr lang="ru-RU" sz="1600" dirty="0"/>
              <a:t>);</a:t>
            </a:r>
            <a:r>
              <a:rPr lang="en-US" sz="1600" dirty="0"/>
              <a:t> </a:t>
            </a:r>
          </a:p>
          <a:p>
            <a:r>
              <a:rPr lang="ru-RU" sz="1600" dirty="0"/>
              <a:t>на шаге 2 этот треугольник</a:t>
            </a:r>
            <a:r>
              <a:rPr lang="en-US" sz="1600" dirty="0"/>
              <a:t> </a:t>
            </a:r>
            <a:r>
              <a:rPr lang="ru-RU" sz="1600" dirty="0"/>
              <a:t>складывают так, что вершина</a:t>
            </a:r>
          </a:p>
          <a:p>
            <a:r>
              <a:rPr lang="ru-RU" sz="1600" dirty="0"/>
              <a:t>совпадает с серединой противолежащей стороны (</a:t>
            </a:r>
            <a:r>
              <a:rPr lang="ru-RU" sz="1600" i="1" dirty="0"/>
              <a:t>А </a:t>
            </a:r>
            <a:r>
              <a:rPr lang="ru-RU" sz="1600" dirty="0"/>
              <a:t>совпадает с </a:t>
            </a:r>
            <a:r>
              <a:rPr lang="ru-RU" sz="1600" i="1" dirty="0"/>
              <a:t>В</a:t>
            </a:r>
            <a:r>
              <a:rPr lang="ru-RU" sz="1600" dirty="0"/>
              <a:t>,</a:t>
            </a:r>
            <a:r>
              <a:rPr lang="en-US" sz="1600" dirty="0"/>
              <a:t> </a:t>
            </a:r>
            <a:r>
              <a:rPr lang="ru-RU" sz="1600" i="1" dirty="0"/>
              <a:t>КМ </a:t>
            </a:r>
            <a:r>
              <a:rPr lang="ru-RU" sz="1600" dirty="0"/>
              <a:t>— средняя линия треугольника, равна половине стороны);</a:t>
            </a:r>
          </a:p>
          <a:p>
            <a:r>
              <a:rPr lang="ru-RU" sz="1600" dirty="0"/>
              <a:t>в результате шагов 3 и 4 получается равносторонний треугольник с вдвое меньшей стороной,</a:t>
            </a:r>
            <a:r>
              <a:rPr lang="en-US" sz="1600" dirty="0"/>
              <a:t> </a:t>
            </a:r>
            <a:r>
              <a:rPr lang="ru-RU" sz="1600" dirty="0"/>
              <a:t>чем исходный треугольник; это</a:t>
            </a:r>
            <a:r>
              <a:rPr lang="en-US" sz="1600" dirty="0"/>
              <a:t> </a:t>
            </a:r>
            <a:r>
              <a:rPr lang="ru-RU" sz="1600" dirty="0"/>
              <a:t>и будут стороны коробки.</a:t>
            </a:r>
          </a:p>
          <a:p>
            <a:r>
              <a:rPr lang="ru-RU" sz="1600" i="1" dirty="0"/>
              <a:t>АО </a:t>
            </a:r>
            <a:r>
              <a:rPr lang="ru-RU" sz="1600" dirty="0"/>
              <a:t>= 20 см (радиус окружности),</a:t>
            </a:r>
          </a:p>
          <a:p>
            <a:r>
              <a:rPr lang="ru-RU" sz="1600" i="1" dirty="0"/>
              <a:t>ОВ </a:t>
            </a:r>
            <a:r>
              <a:rPr lang="ru-RU" sz="1600" dirty="0"/>
              <a:t>= 10 см (треть медианы).</a:t>
            </a:r>
          </a:p>
        </p:txBody>
      </p:sp>
      <p:pic>
        <p:nvPicPr>
          <p:cNvPr id="104451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223" y="3469698"/>
            <a:ext cx="2547939" cy="1327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683046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4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2530" y="2825770"/>
            <a:ext cx="2176419" cy="190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6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263377"/>
            <a:ext cx="41719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7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739840"/>
            <a:ext cx="5756874" cy="1253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249" y="384851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68" y="3244790"/>
            <a:ext cx="6301498" cy="2779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129281" y="6016453"/>
            <a:ext cx="23770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/>
              <a:t>Ответ: </a:t>
            </a:r>
            <a:r>
              <a:rPr lang="ru-RU" sz="1600" dirty="0"/>
              <a:t>17 см или 17,3 см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691223" y="176489"/>
            <a:ext cx="5351252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Возможные решения.</a:t>
            </a:r>
          </a:p>
          <a:p>
            <a:r>
              <a:rPr lang="ru-RU" sz="1600" i="1" dirty="0"/>
              <a:t>Решение 1:</a:t>
            </a:r>
          </a:p>
          <a:p>
            <a:r>
              <a:rPr lang="ru-RU" sz="1600" dirty="0"/>
              <a:t>На шаге 1 получается равносторонний треугольник (сторона </a:t>
            </a:r>
            <a:r>
              <a:rPr lang="ru-RU" sz="1600" i="1" dirty="0"/>
              <a:t>АС</a:t>
            </a:r>
            <a:r>
              <a:rPr lang="ru-RU" sz="1600" dirty="0"/>
              <a:t>,</a:t>
            </a:r>
            <a:r>
              <a:rPr lang="en-US" sz="1600" dirty="0"/>
              <a:t> </a:t>
            </a:r>
            <a:r>
              <a:rPr lang="ru-RU" sz="1600" dirty="0"/>
              <a:t>высота </a:t>
            </a:r>
            <a:r>
              <a:rPr lang="ru-RU" sz="1600" i="1" dirty="0"/>
              <a:t>АВ</a:t>
            </a:r>
            <a:r>
              <a:rPr lang="ru-RU" sz="1600" dirty="0"/>
              <a:t>);</a:t>
            </a:r>
            <a:r>
              <a:rPr lang="en-US" sz="1600" dirty="0"/>
              <a:t> </a:t>
            </a:r>
          </a:p>
          <a:p>
            <a:r>
              <a:rPr lang="ru-RU" sz="1600" dirty="0"/>
              <a:t>на шаге 2 этот треугольник</a:t>
            </a:r>
            <a:r>
              <a:rPr lang="en-US" sz="1600" dirty="0"/>
              <a:t> </a:t>
            </a:r>
            <a:r>
              <a:rPr lang="ru-RU" sz="1600" dirty="0"/>
              <a:t>складывают так, что вершина</a:t>
            </a:r>
          </a:p>
          <a:p>
            <a:r>
              <a:rPr lang="ru-RU" sz="1600" dirty="0"/>
              <a:t>совпадает с серединой противолежащей стороны (</a:t>
            </a:r>
            <a:r>
              <a:rPr lang="ru-RU" sz="1600" i="1" dirty="0"/>
              <a:t>А </a:t>
            </a:r>
            <a:r>
              <a:rPr lang="ru-RU" sz="1600" dirty="0"/>
              <a:t>совпадает с </a:t>
            </a:r>
            <a:r>
              <a:rPr lang="ru-RU" sz="1600" i="1" dirty="0"/>
              <a:t>В</a:t>
            </a:r>
            <a:r>
              <a:rPr lang="ru-RU" sz="1600" dirty="0"/>
              <a:t>,</a:t>
            </a:r>
            <a:r>
              <a:rPr lang="en-US" sz="1600" dirty="0"/>
              <a:t> </a:t>
            </a:r>
            <a:r>
              <a:rPr lang="ru-RU" sz="1600" i="1" dirty="0"/>
              <a:t>КМ </a:t>
            </a:r>
            <a:r>
              <a:rPr lang="ru-RU" sz="1600" dirty="0"/>
              <a:t>— средняя линия треугольника, равна половине стороны);</a:t>
            </a:r>
          </a:p>
          <a:p>
            <a:r>
              <a:rPr lang="ru-RU" sz="1600" dirty="0"/>
              <a:t>в результате шагов 3 и 4 получается равносторонний треугольник с вдвое меньшей стороной,</a:t>
            </a:r>
            <a:r>
              <a:rPr lang="en-US" sz="1600" dirty="0"/>
              <a:t> </a:t>
            </a:r>
            <a:r>
              <a:rPr lang="ru-RU" sz="1600" dirty="0"/>
              <a:t>чем исходный треугольник; это</a:t>
            </a:r>
            <a:r>
              <a:rPr lang="en-US" sz="1600" dirty="0"/>
              <a:t> </a:t>
            </a:r>
            <a:r>
              <a:rPr lang="ru-RU" sz="1600" dirty="0"/>
              <a:t>и будут стороны коробки.</a:t>
            </a:r>
          </a:p>
          <a:p>
            <a:r>
              <a:rPr lang="ru-RU" sz="1600" i="1" dirty="0"/>
              <a:t>АО </a:t>
            </a:r>
            <a:r>
              <a:rPr lang="ru-RU" sz="1600" dirty="0"/>
              <a:t>= 20 см (радиус окружности),</a:t>
            </a:r>
          </a:p>
          <a:p>
            <a:r>
              <a:rPr lang="ru-RU" sz="1600" i="1" dirty="0"/>
              <a:t>ОВ </a:t>
            </a:r>
            <a:r>
              <a:rPr lang="ru-RU" sz="1600" dirty="0"/>
              <a:t>= 10 см (треть медианы).</a:t>
            </a:r>
          </a:p>
        </p:txBody>
      </p:sp>
      <p:pic>
        <p:nvPicPr>
          <p:cNvPr id="104451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223" y="3469698"/>
            <a:ext cx="2547939" cy="1327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428" y="4827912"/>
            <a:ext cx="3302841" cy="1685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0998201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4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2530" y="2825770"/>
            <a:ext cx="2176419" cy="190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192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1730" y="553315"/>
            <a:ext cx="2381250" cy="447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5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534" y="996677"/>
            <a:ext cx="714375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8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249" y="384851"/>
            <a:ext cx="1458989" cy="127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68" y="3244790"/>
            <a:ext cx="6301498" cy="2779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129281" y="6016453"/>
            <a:ext cx="237706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/>
              <a:t>Ответ: </a:t>
            </a:r>
            <a:r>
              <a:rPr lang="ru-RU" sz="1600" dirty="0"/>
              <a:t>17 см или 17,3 см.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691223" y="176489"/>
            <a:ext cx="5351252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/>
              <a:t>Возможные решения.</a:t>
            </a:r>
          </a:p>
          <a:p>
            <a:r>
              <a:rPr lang="ru-RU" sz="1600" i="1" dirty="0"/>
              <a:t>Решение 1:</a:t>
            </a:r>
          </a:p>
          <a:p>
            <a:r>
              <a:rPr lang="ru-RU" sz="1600" dirty="0"/>
              <a:t>На шаге 1 получается равносторонний треугольник (сторона </a:t>
            </a:r>
            <a:r>
              <a:rPr lang="ru-RU" sz="1600" i="1" dirty="0"/>
              <a:t>АС</a:t>
            </a:r>
            <a:r>
              <a:rPr lang="ru-RU" sz="1600" dirty="0"/>
              <a:t>,</a:t>
            </a:r>
            <a:r>
              <a:rPr lang="en-US" sz="1600" dirty="0"/>
              <a:t> </a:t>
            </a:r>
            <a:r>
              <a:rPr lang="ru-RU" sz="1600" dirty="0"/>
              <a:t>высота </a:t>
            </a:r>
            <a:r>
              <a:rPr lang="ru-RU" sz="1600" i="1" dirty="0"/>
              <a:t>АВ</a:t>
            </a:r>
            <a:r>
              <a:rPr lang="ru-RU" sz="1600" dirty="0"/>
              <a:t>);</a:t>
            </a:r>
            <a:r>
              <a:rPr lang="en-US" sz="1600" dirty="0"/>
              <a:t> </a:t>
            </a:r>
          </a:p>
          <a:p>
            <a:r>
              <a:rPr lang="ru-RU" sz="1600" dirty="0"/>
              <a:t>на шаге 2 этот треугольник</a:t>
            </a:r>
            <a:r>
              <a:rPr lang="en-US" sz="1600" dirty="0"/>
              <a:t> </a:t>
            </a:r>
            <a:r>
              <a:rPr lang="ru-RU" sz="1600" dirty="0"/>
              <a:t>складывают так, что вершина</a:t>
            </a:r>
          </a:p>
          <a:p>
            <a:r>
              <a:rPr lang="ru-RU" sz="1600" dirty="0"/>
              <a:t>совпадает с серединой противолежащей стороны (</a:t>
            </a:r>
            <a:r>
              <a:rPr lang="ru-RU" sz="1600" i="1" dirty="0"/>
              <a:t>А </a:t>
            </a:r>
            <a:r>
              <a:rPr lang="ru-RU" sz="1600" dirty="0"/>
              <a:t>совпадает с </a:t>
            </a:r>
            <a:r>
              <a:rPr lang="ru-RU" sz="1600" i="1" dirty="0"/>
              <a:t>В</a:t>
            </a:r>
            <a:r>
              <a:rPr lang="ru-RU" sz="1600" dirty="0"/>
              <a:t>,</a:t>
            </a:r>
            <a:r>
              <a:rPr lang="en-US" sz="1600" dirty="0"/>
              <a:t> </a:t>
            </a:r>
            <a:r>
              <a:rPr lang="ru-RU" sz="1600" i="1" dirty="0"/>
              <a:t>КМ </a:t>
            </a:r>
            <a:r>
              <a:rPr lang="ru-RU" sz="1600" dirty="0"/>
              <a:t>— средняя линия треугольника, равна половине стороны);</a:t>
            </a:r>
          </a:p>
          <a:p>
            <a:r>
              <a:rPr lang="ru-RU" sz="1600" dirty="0"/>
              <a:t>в результате шагов 3 и 4 получается равносторонний треугольник с вдвое меньшей стороной,</a:t>
            </a:r>
            <a:r>
              <a:rPr lang="en-US" sz="1600" dirty="0"/>
              <a:t> </a:t>
            </a:r>
            <a:r>
              <a:rPr lang="ru-RU" sz="1600" dirty="0"/>
              <a:t>чем исходный треугольник; это</a:t>
            </a:r>
            <a:r>
              <a:rPr lang="en-US" sz="1600" dirty="0"/>
              <a:t> </a:t>
            </a:r>
            <a:r>
              <a:rPr lang="ru-RU" sz="1600" dirty="0"/>
              <a:t>и будут стороны коробки.</a:t>
            </a:r>
          </a:p>
          <a:p>
            <a:r>
              <a:rPr lang="ru-RU" sz="1600" i="1" dirty="0"/>
              <a:t>АО </a:t>
            </a:r>
            <a:r>
              <a:rPr lang="ru-RU" sz="1600" dirty="0"/>
              <a:t>= 20 см (радиус окружности),</a:t>
            </a:r>
          </a:p>
          <a:p>
            <a:r>
              <a:rPr lang="ru-RU" sz="1600" i="1" dirty="0"/>
              <a:t>ОВ </a:t>
            </a:r>
            <a:r>
              <a:rPr lang="ru-RU" sz="1600" dirty="0"/>
              <a:t>= 10 см (треть медианы).</a:t>
            </a:r>
          </a:p>
        </p:txBody>
      </p:sp>
      <p:pic>
        <p:nvPicPr>
          <p:cNvPr id="104451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1223" y="3469698"/>
            <a:ext cx="2547939" cy="13272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7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5428" y="4827912"/>
            <a:ext cx="3302841" cy="1685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184030" y="1663427"/>
            <a:ext cx="6096000" cy="1323439"/>
          </a:xfrm>
          <a:prstGeom prst="rect">
            <a:avLst/>
          </a:prstGeom>
          <a:solidFill>
            <a:srgbClr val="D8EBF4"/>
          </a:solidFill>
        </p:spPr>
        <p:txBody>
          <a:bodyPr>
            <a:spAutoFit/>
          </a:bodyPr>
          <a:lstStyle/>
          <a:p>
            <a:r>
              <a:rPr lang="ru-RU" sz="1600" b="1" dirty="0"/>
              <a:t>2 балла </a:t>
            </a:r>
            <a:r>
              <a:rPr lang="ru-RU" sz="1600" dirty="0"/>
              <a:t>— дан верный</a:t>
            </a:r>
            <a:r>
              <a:rPr lang="en-US" sz="1600" dirty="0"/>
              <a:t> </a:t>
            </a:r>
            <a:r>
              <a:rPr lang="ru-RU" sz="1600" dirty="0"/>
              <a:t>ответ и приведено верное решение;</a:t>
            </a:r>
          </a:p>
          <a:p>
            <a:r>
              <a:rPr lang="ru-RU" sz="1600" b="1" dirty="0"/>
              <a:t>1 балл </a:t>
            </a:r>
            <a:r>
              <a:rPr lang="ru-RU" sz="1600" dirty="0"/>
              <a:t>— дан неверный</a:t>
            </a:r>
            <a:r>
              <a:rPr lang="en-US" sz="1600" dirty="0"/>
              <a:t> </a:t>
            </a:r>
            <a:r>
              <a:rPr lang="ru-RU" sz="1600" dirty="0"/>
              <a:t>ответ, но в обосновании верно указано, что</a:t>
            </a:r>
          </a:p>
          <a:p>
            <a:r>
              <a:rPr lang="ru-RU" sz="1600" dirty="0"/>
              <a:t>коробка имеет форму</a:t>
            </a:r>
            <a:r>
              <a:rPr lang="en-US" sz="1600" dirty="0"/>
              <a:t> </a:t>
            </a:r>
            <a:r>
              <a:rPr lang="ru-RU" sz="1600" dirty="0"/>
              <a:t>равностороннего треугольника, сторона</a:t>
            </a:r>
          </a:p>
          <a:p>
            <a:r>
              <a:rPr lang="ru-RU" sz="1600" dirty="0"/>
              <a:t>которого вдвое меньше</a:t>
            </a:r>
            <a:r>
              <a:rPr lang="en-US" sz="1600" dirty="0"/>
              <a:t> </a:t>
            </a:r>
            <a:r>
              <a:rPr lang="ru-RU" sz="1600" dirty="0"/>
              <a:t>стороны треугольника</a:t>
            </a:r>
            <a:r>
              <a:rPr lang="en-US" sz="1600" dirty="0"/>
              <a:t> </a:t>
            </a:r>
            <a:r>
              <a:rPr lang="ru-RU" sz="1600" dirty="0"/>
              <a:t>на первом рисунке;</a:t>
            </a:r>
          </a:p>
          <a:p>
            <a:r>
              <a:rPr lang="ru-RU" sz="1600" b="1" dirty="0"/>
              <a:t>0 баллов </a:t>
            </a:r>
            <a:r>
              <a:rPr lang="ru-RU" sz="1600" dirty="0"/>
              <a:t>— дан другой</a:t>
            </a:r>
            <a:r>
              <a:rPr lang="en-US" sz="1600" dirty="0"/>
              <a:t> </a:t>
            </a:r>
            <a:r>
              <a:rPr lang="ru-RU" sz="1600" dirty="0"/>
              <a:t>ответ ИЛИ ответ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342347507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59" y="3007743"/>
            <a:ext cx="5386826" cy="1886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5064156"/>
            <a:ext cx="59531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075" y="543233"/>
            <a:ext cx="5837397" cy="273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789" y="3558486"/>
            <a:ext cx="5698286" cy="220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1581332" y="6263533"/>
            <a:ext cx="88046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Если задание выполнено верно, поставьте </a:t>
            </a:r>
            <a:r>
              <a:rPr lang="ru-RU" sz="1400" b="1" dirty="0"/>
              <a:t>1, </a:t>
            </a:r>
            <a:r>
              <a:rPr lang="ru-RU" sz="1400" dirty="0"/>
              <a:t>если неверно — </a:t>
            </a:r>
            <a:r>
              <a:rPr lang="ru-RU" sz="1400" b="1" dirty="0"/>
              <a:t>0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431098548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59" y="3007743"/>
            <a:ext cx="5386826" cy="1886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5064156"/>
            <a:ext cx="59531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075" y="543233"/>
            <a:ext cx="5837397" cy="273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789" y="3558486"/>
            <a:ext cx="5698286" cy="220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59918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круг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987795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20 с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/>
              <p:cNvSpPr txBox="1"/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b="0" i="1" smtClean="0">
                          <a:latin typeface="Cambria Math"/>
                        </a:rPr>
                        <m:t>1600</m:t>
                      </m:r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𝜋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Прямоугольник 39"/>
          <p:cNvSpPr/>
          <p:nvPr/>
        </p:nvSpPr>
        <p:spPr>
          <a:xfrm>
            <a:off x="1581332" y="6263533"/>
            <a:ext cx="88046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Если задание выполнено верно, поставьте </a:t>
            </a:r>
            <a:r>
              <a:rPr lang="ru-RU" sz="1400" b="1" dirty="0"/>
              <a:t>1, </a:t>
            </a:r>
            <a:r>
              <a:rPr lang="ru-RU" sz="1400" dirty="0"/>
              <a:t>если неверно — </a:t>
            </a:r>
            <a:r>
              <a:rPr lang="ru-RU" sz="1400" b="1" dirty="0"/>
              <a:t>0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59286533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59" y="3007743"/>
            <a:ext cx="5386826" cy="1886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5064156"/>
            <a:ext cx="59531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075" y="543233"/>
            <a:ext cx="5837397" cy="273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789" y="3558486"/>
            <a:ext cx="5698286" cy="220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59918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круг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987795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20 с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/>
              <p:cNvSpPr txBox="1"/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b="0" i="1" smtClean="0">
                          <a:latin typeface="Cambria Math"/>
                        </a:rPr>
                        <m:t>1600</m:t>
                      </m:r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𝜋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/>
              <p:cNvSpPr txBox="1"/>
              <p:nvPr/>
            </p:nvSpPr>
            <p:spPr>
              <a:xfrm>
                <a:off x="1020738" y="5593522"/>
                <a:ext cx="320498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/>
                  <a:t>в 4 раза. </a:t>
                </a:r>
                <a:r>
                  <a:rPr lang="en-US" sz="1600" dirty="0"/>
                  <a:t>        </a:t>
                </a:r>
                <a:r>
                  <a:rPr lang="ru-RU" sz="1600" dirty="0"/>
                  <a:t>(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/>
                      </a:rPr>
                      <m:t>𝑆</m:t>
                    </m:r>
                    <m:r>
                      <a:rPr lang="en-US" sz="1600" b="0" i="1" smtClean="0">
                        <a:latin typeface="Cambria Math"/>
                      </a:rPr>
                      <m:t>=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(2</m:t>
                        </m:r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)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  <m:r>
                      <a:rPr lang="en-US" sz="1600" b="0" i="1" smtClean="0">
                        <a:latin typeface="Cambria Math"/>
                        <a:ea typeface="Cambria Math"/>
                      </a:rPr>
                      <m:t>=4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sz="1600" dirty="0"/>
                  <a:t>)</a:t>
                </a:r>
                <a:endParaRPr lang="ru-RU" sz="1600" dirty="0"/>
              </a:p>
            </p:txBody>
          </p:sp>
        </mc:Choice>
        <mc:Fallback xmlns="">
          <p:sp>
            <p:nvSpPr>
              <p:cNvPr id="33" name="TextBox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0738" y="5593522"/>
                <a:ext cx="3204984" cy="338554"/>
              </a:xfrm>
              <a:prstGeom prst="rect">
                <a:avLst/>
              </a:prstGeom>
              <a:blipFill rotWithShape="1">
                <a:blip r:embed="rId12"/>
                <a:stretch>
                  <a:fillRect l="-951" t="-5455" b="-2363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Прямоугольник 33"/>
          <p:cNvSpPr/>
          <p:nvPr/>
        </p:nvSpPr>
        <p:spPr>
          <a:xfrm>
            <a:off x="1581332" y="6263533"/>
            <a:ext cx="88046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Если задание выполнено верно, поставьте </a:t>
            </a:r>
            <a:r>
              <a:rPr lang="ru-RU" sz="1400" b="1" dirty="0"/>
              <a:t>1, </a:t>
            </a:r>
            <a:r>
              <a:rPr lang="ru-RU" sz="1400" dirty="0"/>
              <a:t>если неверно — </a:t>
            </a:r>
            <a:r>
              <a:rPr lang="ru-RU" sz="1400" b="1" dirty="0"/>
              <a:t>0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84479712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59" y="3007743"/>
            <a:ext cx="5386826" cy="1886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5064156"/>
            <a:ext cx="59531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075" y="543233"/>
            <a:ext cx="5837397" cy="273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789" y="3558486"/>
            <a:ext cx="5698286" cy="220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59918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круг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987795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20 с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/>
              <p:cNvSpPr txBox="1"/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b="0" i="1" smtClean="0">
                          <a:latin typeface="Cambria Math"/>
                        </a:rPr>
                        <m:t>1600</m:t>
                      </m:r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𝜋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/>
              <p:cNvSpPr txBox="1"/>
              <p:nvPr/>
            </p:nvSpPr>
            <p:spPr>
              <a:xfrm>
                <a:off x="1020738" y="5593522"/>
                <a:ext cx="320498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/>
                  <a:t>в 4 раза. </a:t>
                </a:r>
                <a:r>
                  <a:rPr lang="en-US" sz="1600" dirty="0"/>
                  <a:t>        </a:t>
                </a:r>
                <a:r>
                  <a:rPr lang="ru-RU" sz="1600" dirty="0"/>
                  <a:t>(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/>
                      </a:rPr>
                      <m:t>𝑆</m:t>
                    </m:r>
                    <m:r>
                      <a:rPr lang="en-US" sz="1600" b="0" i="1" smtClean="0">
                        <a:latin typeface="Cambria Math"/>
                      </a:rPr>
                      <m:t>=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(2</m:t>
                        </m:r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)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  <m:r>
                      <a:rPr lang="en-US" sz="1600" b="0" i="1" smtClean="0">
                        <a:latin typeface="Cambria Math"/>
                        <a:ea typeface="Cambria Math"/>
                      </a:rPr>
                      <m:t>=4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sz="1600" dirty="0"/>
                  <a:t>)</a:t>
                </a:r>
                <a:endParaRPr lang="ru-RU" sz="1600" dirty="0"/>
              </a:p>
            </p:txBody>
          </p:sp>
        </mc:Choice>
        <mc:Fallback xmlns="">
          <p:sp>
            <p:nvSpPr>
              <p:cNvPr id="33" name="TextBox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0738" y="5593522"/>
                <a:ext cx="3204984" cy="338554"/>
              </a:xfrm>
              <a:prstGeom prst="rect">
                <a:avLst/>
              </a:prstGeom>
              <a:blipFill rotWithShape="1">
                <a:blip r:embed="rId12"/>
                <a:stretch>
                  <a:fillRect l="-951" t="-5455" b="-2363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Box 33"/>
          <p:cNvSpPr txBox="1"/>
          <p:nvPr/>
        </p:nvSpPr>
        <p:spPr>
          <a:xfrm>
            <a:off x="6455564" y="1542971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581332" y="6263533"/>
            <a:ext cx="88046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Если задание выполнено верно, поставьте </a:t>
            </a:r>
            <a:r>
              <a:rPr lang="ru-RU" sz="1400" b="1" dirty="0"/>
              <a:t>1, </a:t>
            </a:r>
            <a:r>
              <a:rPr lang="ru-RU" sz="1400" dirty="0"/>
              <a:t>если неверно — </a:t>
            </a:r>
            <a:r>
              <a:rPr lang="ru-RU" sz="1400" b="1" dirty="0"/>
              <a:t>0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68751523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59" y="3007743"/>
            <a:ext cx="5386826" cy="1886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5064156"/>
            <a:ext cx="59531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075" y="543233"/>
            <a:ext cx="5837397" cy="273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789" y="3558486"/>
            <a:ext cx="5698286" cy="220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59918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круг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987795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20 с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/>
              <p:cNvSpPr txBox="1"/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b="0" i="1" smtClean="0">
                          <a:latin typeface="Cambria Math"/>
                        </a:rPr>
                        <m:t>1600</m:t>
                      </m:r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𝜋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/>
              <p:cNvSpPr txBox="1"/>
              <p:nvPr/>
            </p:nvSpPr>
            <p:spPr>
              <a:xfrm>
                <a:off x="1020738" y="5593522"/>
                <a:ext cx="320498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/>
                  <a:t>в 4 раза. </a:t>
                </a:r>
                <a:r>
                  <a:rPr lang="en-US" sz="1600" dirty="0"/>
                  <a:t>        </a:t>
                </a:r>
                <a:r>
                  <a:rPr lang="ru-RU" sz="1600" dirty="0"/>
                  <a:t>(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/>
                      </a:rPr>
                      <m:t>𝑆</m:t>
                    </m:r>
                    <m:r>
                      <a:rPr lang="en-US" sz="1600" b="0" i="1" smtClean="0">
                        <a:latin typeface="Cambria Math"/>
                      </a:rPr>
                      <m:t>=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(2</m:t>
                        </m:r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)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  <m:r>
                      <a:rPr lang="en-US" sz="1600" b="0" i="1" smtClean="0">
                        <a:latin typeface="Cambria Math"/>
                        <a:ea typeface="Cambria Math"/>
                      </a:rPr>
                      <m:t>=4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sz="1600" dirty="0"/>
                  <a:t>)</a:t>
                </a:r>
                <a:endParaRPr lang="ru-RU" sz="1600" dirty="0"/>
              </a:p>
            </p:txBody>
          </p:sp>
        </mc:Choice>
        <mc:Fallback xmlns="">
          <p:sp>
            <p:nvSpPr>
              <p:cNvPr id="33" name="TextBox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0738" y="5593522"/>
                <a:ext cx="3204984" cy="338554"/>
              </a:xfrm>
              <a:prstGeom prst="rect">
                <a:avLst/>
              </a:prstGeom>
              <a:blipFill rotWithShape="1">
                <a:blip r:embed="rId12"/>
                <a:stretch>
                  <a:fillRect l="-951" t="-5455" b="-2363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Box 33"/>
          <p:cNvSpPr txBox="1"/>
          <p:nvPr/>
        </p:nvSpPr>
        <p:spPr>
          <a:xfrm>
            <a:off x="6455564" y="1542971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Прямоугольник 3"/>
              <p:cNvSpPr/>
              <p:nvPr/>
            </p:nvSpPr>
            <p:spPr>
              <a:xfrm>
                <a:off x="6939885" y="2869243"/>
                <a:ext cx="4981821" cy="61555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dirty="0"/>
                  <a:t>порция массой 75 г</a:t>
                </a:r>
                <a:endParaRPr lang="en-US" sz="1400" dirty="0"/>
              </a:p>
              <a:p>
                <a:endParaRPr lang="en-US" sz="700" dirty="0"/>
              </a:p>
              <a:p>
                <a:r>
                  <a:rPr lang="en-US" sz="1200" b="1" dirty="0"/>
                  <a:t>(</a:t>
                </a:r>
                <a14:m>
                  <m:oMath xmlns:m="http://schemas.openxmlformats.org/officeDocument/2006/math">
                    <m:r>
                      <a:rPr lang="ru-RU" sz="1200" b="1" i="1" dirty="0" smtClean="0">
                        <a:latin typeface="Cambria Math"/>
                      </a:rPr>
                      <m:t>𝟓</m:t>
                    </m:r>
                    <m:r>
                      <a:rPr lang="ru-RU" sz="1200" b="1" i="1" dirty="0" smtClean="0">
                        <a:latin typeface="Cambria Math"/>
                      </a:rPr>
                      <m:t> : </m:t>
                    </m:r>
                    <m:r>
                      <a:rPr lang="ru-RU" sz="1200" b="1" i="1" dirty="0">
                        <a:latin typeface="Cambria Math"/>
                      </a:rPr>
                      <m:t>𝟓𝟎</m:t>
                    </m:r>
                    <m:r>
                      <a:rPr lang="ru-RU" sz="1200" b="1" i="1" dirty="0">
                        <a:latin typeface="Cambria Math"/>
                      </a:rPr>
                      <m:t> = </m:t>
                    </m:r>
                    <m:r>
                      <a:rPr lang="ru-RU" sz="1200" b="1" i="1" dirty="0">
                        <a:latin typeface="Cambria Math"/>
                      </a:rPr>
                      <m:t>𝟎</m:t>
                    </m:r>
                    <m:r>
                      <a:rPr lang="ru-RU" sz="1200" b="1" i="1" dirty="0">
                        <a:latin typeface="Cambria Math"/>
                      </a:rPr>
                      <m:t>,</m:t>
                    </m:r>
                    <m:r>
                      <a:rPr lang="ru-RU" sz="1200" b="1" i="1" dirty="0">
                        <a:latin typeface="Cambria Math"/>
                      </a:rPr>
                      <m:t>𝟏</m:t>
                    </m:r>
                    <m:r>
                      <a:rPr lang="ru-RU" sz="1200" b="1" i="1" dirty="0">
                        <a:latin typeface="Cambria Math"/>
                      </a:rPr>
                      <m:t> руб. за </m:t>
                    </m:r>
                    <m:r>
                      <a:rPr lang="ru-RU" sz="1200" b="1" i="1" dirty="0">
                        <a:latin typeface="Cambria Math"/>
                      </a:rPr>
                      <m:t>𝟏</m:t>
                    </m:r>
                    <m:r>
                      <a:rPr lang="ru-RU" sz="1200" b="1" i="1" dirty="0">
                        <a:latin typeface="Cambria Math"/>
                      </a:rPr>
                      <m:t> г; </m:t>
                    </m:r>
                    <m:r>
                      <a:rPr lang="ru-RU" sz="1200" b="1" i="1" dirty="0">
                        <a:latin typeface="Cambria Math"/>
                      </a:rPr>
                      <m:t>𝟕</m:t>
                    </m:r>
                    <m:r>
                      <a:rPr lang="ru-RU" sz="1200" b="1" i="1" dirty="0">
                        <a:latin typeface="Cambria Math"/>
                      </a:rPr>
                      <m:t> :</m:t>
                    </m:r>
                    <m:r>
                      <a:rPr lang="ru-RU" sz="1200" b="1" i="1" dirty="0">
                        <a:latin typeface="Cambria Math"/>
                      </a:rPr>
                      <m:t>𝟕𝟓</m:t>
                    </m:r>
                    <m:r>
                      <a:rPr lang="en-US" sz="1200" b="1" i="1" dirty="0" smtClean="0">
                        <a:latin typeface="Cambria Math"/>
                        <a:ea typeface="Cambria Math"/>
                      </a:rPr>
                      <m:t>≈</m:t>
                    </m:r>
                    <m:r>
                      <a:rPr lang="ru-RU" sz="1200" b="1" i="1" dirty="0">
                        <a:latin typeface="Cambria Math"/>
                      </a:rPr>
                      <m:t>𝟎</m:t>
                    </m:r>
                    <m:r>
                      <a:rPr lang="ru-RU" sz="1200" b="1" i="1" dirty="0">
                        <a:latin typeface="Cambria Math"/>
                      </a:rPr>
                      <m:t>,</m:t>
                    </m:r>
                    <m:r>
                      <a:rPr lang="ru-RU" sz="1200" b="1" i="1" dirty="0">
                        <a:latin typeface="Cambria Math"/>
                      </a:rPr>
                      <m:t>𝟎𝟗</m:t>
                    </m:r>
                    <m:r>
                      <a:rPr lang="ru-RU" sz="1200" b="1" i="1" dirty="0">
                        <a:latin typeface="Cambria Math"/>
                      </a:rPr>
                      <m:t> руб. за </m:t>
                    </m:r>
                    <m:r>
                      <a:rPr lang="ru-RU" sz="1200" b="1" i="1" dirty="0">
                        <a:latin typeface="Cambria Math"/>
                      </a:rPr>
                      <m:t>𝟏</m:t>
                    </m:r>
                    <m:r>
                      <a:rPr lang="ru-RU" sz="1200" b="1" i="1" dirty="0">
                        <a:latin typeface="Cambria Math"/>
                      </a:rPr>
                      <m:t> г; </m:t>
                    </m:r>
                    <m:r>
                      <a:rPr lang="ru-RU" sz="1200" b="1" i="1" dirty="0">
                        <a:latin typeface="Cambria Math"/>
                      </a:rPr>
                      <m:t>𝟎</m:t>
                    </m:r>
                    <m:r>
                      <a:rPr lang="ru-RU" sz="1200" b="1" i="1" dirty="0">
                        <a:latin typeface="Cambria Math"/>
                      </a:rPr>
                      <m:t>,</m:t>
                    </m:r>
                    <m:r>
                      <a:rPr lang="ru-RU" sz="1200" b="1" i="1" dirty="0">
                        <a:latin typeface="Cambria Math"/>
                      </a:rPr>
                      <m:t>𝟎𝟗</m:t>
                    </m:r>
                    <m:r>
                      <a:rPr lang="ru-RU" sz="1200" b="1" i="1" dirty="0" smtClean="0">
                        <a:latin typeface="Cambria Math"/>
                        <a:ea typeface="Cambria Math"/>
                      </a:rPr>
                      <m:t>&lt;</m:t>
                    </m:r>
                    <m:r>
                      <a:rPr lang="ru-RU" sz="1200" b="1" i="1" dirty="0">
                        <a:latin typeface="Cambria Math"/>
                      </a:rPr>
                      <m:t>𝟎</m:t>
                    </m:r>
                    <m:r>
                      <a:rPr lang="ru-RU" sz="1200" b="1" i="1" dirty="0">
                        <a:latin typeface="Cambria Math"/>
                      </a:rPr>
                      <m:t>,</m:t>
                    </m:r>
                    <m:r>
                      <a:rPr lang="ru-RU" sz="1200" b="1" i="1" dirty="0">
                        <a:latin typeface="Cambria Math"/>
                      </a:rPr>
                      <m:t>𝟏</m:t>
                    </m:r>
                    <m:r>
                      <a:rPr lang="en-US" sz="1200" b="1" i="1" dirty="0" smtClean="0">
                        <a:latin typeface="Cambria Math"/>
                      </a:rPr>
                      <m:t>)</m:t>
                    </m:r>
                  </m:oMath>
                </a14:m>
                <a:endParaRPr lang="ru-RU" sz="1200" b="1" dirty="0"/>
              </a:p>
            </p:txBody>
          </p:sp>
        </mc:Choice>
        <mc:Fallback xmlns="">
          <p:sp>
            <p:nvSpPr>
              <p:cNvPr id="4" name="Прямоугольник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39885" y="2869243"/>
                <a:ext cx="4981821" cy="615553"/>
              </a:xfrm>
              <a:prstGeom prst="rect">
                <a:avLst/>
              </a:prstGeom>
              <a:blipFill rotWithShape="1">
                <a:blip r:embed="rId13"/>
                <a:stretch>
                  <a:fillRect l="-244" t="-990" b="-495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Прямоугольник 39"/>
          <p:cNvSpPr/>
          <p:nvPr/>
        </p:nvSpPr>
        <p:spPr>
          <a:xfrm>
            <a:off x="1581332" y="6263533"/>
            <a:ext cx="88046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Если задание выполнено верно, поставьте </a:t>
            </a:r>
            <a:r>
              <a:rPr lang="ru-RU" sz="1400" b="1" dirty="0"/>
              <a:t>1, </a:t>
            </a:r>
            <a:r>
              <a:rPr lang="ru-RU" sz="1400" dirty="0"/>
              <a:t>если неверно — </a:t>
            </a:r>
            <a:r>
              <a:rPr lang="ru-RU" sz="1400" b="1" dirty="0"/>
              <a:t>0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92421664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459" y="3007743"/>
            <a:ext cx="5386826" cy="1886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2875" y="5064156"/>
            <a:ext cx="5953125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9075" y="543233"/>
            <a:ext cx="5837397" cy="2730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1789" y="3558486"/>
            <a:ext cx="5698286" cy="220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1359918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круг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987795" y="4491365"/>
            <a:ext cx="9174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20 см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Box 37"/>
              <p:cNvSpPr txBox="1"/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b="0" i="1" smtClean="0">
                          <a:latin typeface="Cambria Math"/>
                        </a:rPr>
                        <m:t>1600</m:t>
                      </m:r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𝜋</m:t>
                      </m:r>
                    </m:oMath>
                  </m:oMathPara>
                </a14:m>
                <a:endParaRPr lang="ru-RU" sz="1600" dirty="0"/>
              </a:p>
            </p:txBody>
          </p:sp>
        </mc:Choice>
        <mc:Fallback xmlns=""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713078" y="4491365"/>
                <a:ext cx="917456" cy="338554"/>
              </a:xfrm>
              <a:prstGeom prst="rect">
                <a:avLst/>
              </a:prstGeom>
              <a:blipFill rotWithShape="1"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Box 32"/>
              <p:cNvSpPr txBox="1"/>
              <p:nvPr/>
            </p:nvSpPr>
            <p:spPr>
              <a:xfrm>
                <a:off x="1020738" y="5593522"/>
                <a:ext cx="320498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dirty="0"/>
                  <a:t>в 4 раза. </a:t>
                </a:r>
                <a:r>
                  <a:rPr lang="en-US" sz="1600" dirty="0"/>
                  <a:t>        </a:t>
                </a:r>
                <a:r>
                  <a:rPr lang="ru-RU" sz="1600" dirty="0"/>
                  <a:t>(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/>
                      </a:rPr>
                      <m:t>𝑆</m:t>
                    </m:r>
                    <m:r>
                      <a:rPr lang="en-US" sz="1600" b="0" i="1" smtClean="0">
                        <a:latin typeface="Cambria Math"/>
                      </a:rPr>
                      <m:t>=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(2</m:t>
                        </m:r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)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  <m:r>
                      <a:rPr lang="en-US" sz="1600" b="0" i="1" smtClean="0">
                        <a:latin typeface="Cambria Math"/>
                        <a:ea typeface="Cambria Math"/>
                      </a:rPr>
                      <m:t>=4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</m:oMath>
                </a14:m>
                <a:r>
                  <a:rPr lang="en-US" sz="1600" dirty="0"/>
                  <a:t>)</a:t>
                </a:r>
                <a:endParaRPr lang="ru-RU" sz="1600" dirty="0"/>
              </a:p>
            </p:txBody>
          </p:sp>
        </mc:Choice>
        <mc:Fallback xmlns="">
          <p:sp>
            <p:nvSpPr>
              <p:cNvPr id="33" name="TextBox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20738" y="5593522"/>
                <a:ext cx="3204984" cy="338554"/>
              </a:xfrm>
              <a:prstGeom prst="rect">
                <a:avLst/>
              </a:prstGeom>
              <a:blipFill rotWithShape="1">
                <a:blip r:embed="rId12"/>
                <a:stretch>
                  <a:fillRect l="-951" t="-5455" b="-2363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Box 33"/>
          <p:cNvSpPr txBox="1"/>
          <p:nvPr/>
        </p:nvSpPr>
        <p:spPr>
          <a:xfrm>
            <a:off x="6455564" y="1542971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Прямоугольник 3"/>
              <p:cNvSpPr/>
              <p:nvPr/>
            </p:nvSpPr>
            <p:spPr>
              <a:xfrm>
                <a:off x="6939885" y="2869243"/>
                <a:ext cx="4981821" cy="61555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dirty="0"/>
                  <a:t>порция массой 75 г</a:t>
                </a:r>
                <a:endParaRPr lang="en-US" sz="1400" dirty="0"/>
              </a:p>
              <a:p>
                <a:endParaRPr lang="en-US" sz="700" dirty="0"/>
              </a:p>
              <a:p>
                <a:r>
                  <a:rPr lang="en-US" sz="1200" b="1" dirty="0"/>
                  <a:t>(</a:t>
                </a:r>
                <a14:m>
                  <m:oMath xmlns:m="http://schemas.openxmlformats.org/officeDocument/2006/math">
                    <m:r>
                      <a:rPr lang="ru-RU" sz="1200" b="1" i="1" dirty="0" smtClean="0">
                        <a:latin typeface="Cambria Math"/>
                      </a:rPr>
                      <m:t>𝟓</m:t>
                    </m:r>
                    <m:r>
                      <a:rPr lang="ru-RU" sz="1200" b="1" i="1" dirty="0" smtClean="0">
                        <a:latin typeface="Cambria Math"/>
                      </a:rPr>
                      <m:t> : </m:t>
                    </m:r>
                    <m:r>
                      <a:rPr lang="ru-RU" sz="1200" b="1" i="1" dirty="0">
                        <a:latin typeface="Cambria Math"/>
                      </a:rPr>
                      <m:t>𝟓𝟎</m:t>
                    </m:r>
                    <m:r>
                      <a:rPr lang="ru-RU" sz="1200" b="1" i="1" dirty="0">
                        <a:latin typeface="Cambria Math"/>
                      </a:rPr>
                      <m:t> = </m:t>
                    </m:r>
                    <m:r>
                      <a:rPr lang="ru-RU" sz="1200" b="1" i="1" dirty="0">
                        <a:latin typeface="Cambria Math"/>
                      </a:rPr>
                      <m:t>𝟎</m:t>
                    </m:r>
                    <m:r>
                      <a:rPr lang="ru-RU" sz="1200" b="1" i="1" dirty="0">
                        <a:latin typeface="Cambria Math"/>
                      </a:rPr>
                      <m:t>,</m:t>
                    </m:r>
                    <m:r>
                      <a:rPr lang="ru-RU" sz="1200" b="1" i="1" dirty="0">
                        <a:latin typeface="Cambria Math"/>
                      </a:rPr>
                      <m:t>𝟏</m:t>
                    </m:r>
                    <m:r>
                      <a:rPr lang="ru-RU" sz="1200" b="1" i="1" dirty="0">
                        <a:latin typeface="Cambria Math"/>
                      </a:rPr>
                      <m:t> руб. за </m:t>
                    </m:r>
                    <m:r>
                      <a:rPr lang="ru-RU" sz="1200" b="1" i="1" dirty="0">
                        <a:latin typeface="Cambria Math"/>
                      </a:rPr>
                      <m:t>𝟏</m:t>
                    </m:r>
                    <m:r>
                      <a:rPr lang="ru-RU" sz="1200" b="1" i="1" dirty="0">
                        <a:latin typeface="Cambria Math"/>
                      </a:rPr>
                      <m:t> г; </m:t>
                    </m:r>
                    <m:r>
                      <a:rPr lang="ru-RU" sz="1200" b="1" i="1" dirty="0">
                        <a:latin typeface="Cambria Math"/>
                      </a:rPr>
                      <m:t>𝟕</m:t>
                    </m:r>
                    <m:r>
                      <a:rPr lang="ru-RU" sz="1200" b="1" i="1" dirty="0">
                        <a:latin typeface="Cambria Math"/>
                      </a:rPr>
                      <m:t> :</m:t>
                    </m:r>
                    <m:r>
                      <a:rPr lang="ru-RU" sz="1200" b="1" i="1" dirty="0">
                        <a:latin typeface="Cambria Math"/>
                      </a:rPr>
                      <m:t>𝟕𝟓</m:t>
                    </m:r>
                    <m:r>
                      <a:rPr lang="en-US" sz="1200" b="1" i="1" dirty="0" smtClean="0">
                        <a:latin typeface="Cambria Math"/>
                        <a:ea typeface="Cambria Math"/>
                      </a:rPr>
                      <m:t>≈</m:t>
                    </m:r>
                    <m:r>
                      <a:rPr lang="ru-RU" sz="1200" b="1" i="1" dirty="0">
                        <a:latin typeface="Cambria Math"/>
                      </a:rPr>
                      <m:t>𝟎</m:t>
                    </m:r>
                    <m:r>
                      <a:rPr lang="ru-RU" sz="1200" b="1" i="1" dirty="0">
                        <a:latin typeface="Cambria Math"/>
                      </a:rPr>
                      <m:t>,</m:t>
                    </m:r>
                    <m:r>
                      <a:rPr lang="ru-RU" sz="1200" b="1" i="1" dirty="0">
                        <a:latin typeface="Cambria Math"/>
                      </a:rPr>
                      <m:t>𝟎𝟗</m:t>
                    </m:r>
                    <m:r>
                      <a:rPr lang="ru-RU" sz="1200" b="1" i="1" dirty="0">
                        <a:latin typeface="Cambria Math"/>
                      </a:rPr>
                      <m:t> руб. за </m:t>
                    </m:r>
                    <m:r>
                      <a:rPr lang="ru-RU" sz="1200" b="1" i="1" dirty="0">
                        <a:latin typeface="Cambria Math"/>
                      </a:rPr>
                      <m:t>𝟏</m:t>
                    </m:r>
                    <m:r>
                      <a:rPr lang="ru-RU" sz="1200" b="1" i="1" dirty="0">
                        <a:latin typeface="Cambria Math"/>
                      </a:rPr>
                      <m:t> г; </m:t>
                    </m:r>
                    <m:r>
                      <a:rPr lang="ru-RU" sz="1200" b="1" i="1" dirty="0">
                        <a:latin typeface="Cambria Math"/>
                      </a:rPr>
                      <m:t>𝟎</m:t>
                    </m:r>
                    <m:r>
                      <a:rPr lang="ru-RU" sz="1200" b="1" i="1" dirty="0">
                        <a:latin typeface="Cambria Math"/>
                      </a:rPr>
                      <m:t>,</m:t>
                    </m:r>
                    <m:r>
                      <a:rPr lang="ru-RU" sz="1200" b="1" i="1" dirty="0">
                        <a:latin typeface="Cambria Math"/>
                      </a:rPr>
                      <m:t>𝟎𝟗</m:t>
                    </m:r>
                    <m:r>
                      <a:rPr lang="ru-RU" sz="1200" b="1" i="1" dirty="0" smtClean="0">
                        <a:latin typeface="Cambria Math"/>
                        <a:ea typeface="Cambria Math"/>
                      </a:rPr>
                      <m:t>&lt;</m:t>
                    </m:r>
                    <m:r>
                      <a:rPr lang="ru-RU" sz="1200" b="1" i="1" dirty="0">
                        <a:latin typeface="Cambria Math"/>
                      </a:rPr>
                      <m:t>𝟎</m:t>
                    </m:r>
                    <m:r>
                      <a:rPr lang="ru-RU" sz="1200" b="1" i="1" dirty="0">
                        <a:latin typeface="Cambria Math"/>
                      </a:rPr>
                      <m:t>,</m:t>
                    </m:r>
                    <m:r>
                      <a:rPr lang="ru-RU" sz="1200" b="1" i="1" dirty="0">
                        <a:latin typeface="Cambria Math"/>
                      </a:rPr>
                      <m:t>𝟏</m:t>
                    </m:r>
                    <m:r>
                      <a:rPr lang="en-US" sz="1200" b="1" i="1" dirty="0" smtClean="0">
                        <a:latin typeface="Cambria Math"/>
                      </a:rPr>
                      <m:t>)</m:t>
                    </m:r>
                  </m:oMath>
                </a14:m>
                <a:endParaRPr lang="ru-RU" sz="1200" b="1" dirty="0"/>
              </a:p>
            </p:txBody>
          </p:sp>
        </mc:Choice>
        <mc:Fallback xmlns="">
          <p:sp>
            <p:nvSpPr>
              <p:cNvPr id="4" name="Прямоугольник 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39885" y="2869243"/>
                <a:ext cx="4981821" cy="615553"/>
              </a:xfrm>
              <a:prstGeom prst="rect">
                <a:avLst/>
              </a:prstGeom>
              <a:blipFill rotWithShape="1">
                <a:blip r:embed="rId13"/>
                <a:stretch>
                  <a:fillRect l="-244" t="-990" b="-495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5" name="TextBox 34"/>
          <p:cNvSpPr txBox="1"/>
          <p:nvPr/>
        </p:nvSpPr>
        <p:spPr>
          <a:xfrm>
            <a:off x="6586201" y="5124265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Прямоугольник 4"/>
              <p:cNvSpPr/>
              <p:nvPr/>
            </p:nvSpPr>
            <p:spPr>
              <a:xfrm>
                <a:off x="8020946" y="4485541"/>
                <a:ext cx="4009129" cy="181588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dirty="0"/>
                  <a:t>Диаметр большей сковороды больше диаметра меньшей в </a:t>
                </a:r>
                <a14:m>
                  <m:oMath xmlns:m="http://schemas.openxmlformats.org/officeDocument/2006/math">
                    <m:r>
                      <a:rPr lang="ru-RU" sz="1400" i="1" dirty="0" smtClean="0">
                        <a:latin typeface="Cambria Math"/>
                      </a:rPr>
                      <m:t>24 :16</m:t>
                    </m:r>
                    <m:r>
                      <a:rPr lang="ru-RU" sz="1400" b="0" i="1" dirty="0" smtClean="0">
                        <a:latin typeface="Cambria Math"/>
                      </a:rPr>
                      <m:t>=</m:t>
                    </m:r>
                    <m:r>
                      <a:rPr lang="ru-RU" sz="1400" i="1" dirty="0" smtClean="0">
                        <a:latin typeface="Cambria Math"/>
                      </a:rPr>
                      <m:t>1,5 </m:t>
                    </m:r>
                  </m:oMath>
                </a14:m>
                <a:r>
                  <a:rPr lang="ru-RU" sz="1400" dirty="0"/>
                  <a:t>раза. </a:t>
                </a:r>
              </a:p>
              <a:p>
                <a:r>
                  <a:rPr lang="ru-RU" sz="1400" dirty="0"/>
                  <a:t>Значит, её площадь больше в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ru-RU" sz="1400" i="1" dirty="0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ru-RU" sz="1400" b="0" i="1" dirty="0" smtClean="0">
                            <a:latin typeface="Cambria Math"/>
                          </a:rPr>
                          <m:t>(1,5)</m:t>
                        </m:r>
                      </m:e>
                      <m:sup>
                        <m:r>
                          <a:rPr lang="ru-RU" sz="1400" b="0" i="1" dirty="0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ru-RU" sz="1400" i="1" dirty="0" smtClean="0">
                        <a:latin typeface="Cambria Math"/>
                      </a:rPr>
                      <m:t> </m:t>
                    </m:r>
                  </m:oMath>
                </a14:m>
                <a:r>
                  <a:rPr lang="ru-RU" sz="1400" dirty="0"/>
                  <a:t>= 2,25 раза. </a:t>
                </a:r>
              </a:p>
              <a:p>
                <a:r>
                  <a:rPr lang="ru-RU" sz="1400" dirty="0"/>
                  <a:t>Чем меньше площадь сковороды, тем больше на ней получится блинов (из одного и того же количества теста). </a:t>
                </a:r>
              </a:p>
              <a:p>
                <a:r>
                  <a:rPr lang="ru-RU" sz="1400" dirty="0"/>
                  <a:t>Следовательно, на меньшей сковороде получилось бы </a:t>
                </a:r>
                <a14:m>
                  <m:oMath xmlns:m="http://schemas.openxmlformats.org/officeDocument/2006/math">
                    <m:r>
                      <a:rPr lang="ru-RU" sz="1400" i="1" dirty="0" smtClean="0">
                        <a:latin typeface="Cambria Math"/>
                      </a:rPr>
                      <m:t>12</m:t>
                    </m:r>
                    <m:r>
                      <a:rPr lang="ru-RU" sz="1400" i="1" dirty="0" smtClean="0">
                        <a:latin typeface="Cambria Math"/>
                        <a:ea typeface="Cambria Math"/>
                      </a:rPr>
                      <m:t>∙</m:t>
                    </m:r>
                    <m:r>
                      <a:rPr lang="ru-RU" sz="1400" i="1" dirty="0" smtClean="0">
                        <a:latin typeface="Cambria Math"/>
                      </a:rPr>
                      <m:t>2,25 = 27 </m:t>
                    </m:r>
                  </m:oMath>
                </a14:m>
                <a:r>
                  <a:rPr lang="ru-RU" sz="1400" dirty="0"/>
                  <a:t>блинов</a:t>
                </a:r>
              </a:p>
            </p:txBody>
          </p:sp>
        </mc:Choice>
        <mc:Fallback xmlns="">
          <p:sp>
            <p:nvSpPr>
              <p:cNvPr id="5" name="Прямоугольник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020946" y="4485541"/>
                <a:ext cx="4009129" cy="1815882"/>
              </a:xfrm>
              <a:prstGeom prst="rect">
                <a:avLst/>
              </a:prstGeom>
              <a:blipFill rotWithShape="1">
                <a:blip r:embed="rId14"/>
                <a:stretch>
                  <a:fillRect l="-457" t="-336" b="-234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0" name="Прямоугольник 39"/>
          <p:cNvSpPr/>
          <p:nvPr/>
        </p:nvSpPr>
        <p:spPr>
          <a:xfrm>
            <a:off x="1581332" y="6263533"/>
            <a:ext cx="880469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/>
              <a:t>Если задание выполнено верно, поставьте </a:t>
            </a:r>
            <a:r>
              <a:rPr lang="ru-RU" sz="1400" b="1" dirty="0"/>
              <a:t>1, </a:t>
            </a:r>
            <a:r>
              <a:rPr lang="ru-RU" sz="1400" dirty="0"/>
              <a:t>если неверно — </a:t>
            </a:r>
            <a:r>
              <a:rPr lang="ru-RU" sz="1400" b="1" dirty="0"/>
              <a:t>0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258955260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90"/>
          <a:stretch/>
        </p:blipFill>
        <p:spPr bwMode="auto">
          <a:xfrm>
            <a:off x="6480396" y="194745"/>
            <a:ext cx="5159871" cy="3846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796" y="4199960"/>
            <a:ext cx="5626669" cy="2286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36"/>
          <a:stretch/>
        </p:blipFill>
        <p:spPr bwMode="auto">
          <a:xfrm>
            <a:off x="244876" y="3004500"/>
            <a:ext cx="5605794" cy="2602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680824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бота с ситуацией (контекстом)</a:t>
            </a:r>
            <a:endParaRPr lang="ru-RU" sz="2000" dirty="0"/>
          </a:p>
        </p:txBody>
      </p:sp>
      <p:pic>
        <p:nvPicPr>
          <p:cNvPr id="9728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57" b="70977"/>
          <a:stretch/>
        </p:blipFill>
        <p:spPr bwMode="auto">
          <a:xfrm>
            <a:off x="-4216" y="759125"/>
            <a:ext cx="5240558" cy="157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33" t="79028" r="29935"/>
          <a:stretch/>
        </p:blipFill>
        <p:spPr bwMode="auto">
          <a:xfrm>
            <a:off x="3187395" y="2663421"/>
            <a:ext cx="1820173" cy="1427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7283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017"/>
          <a:stretch/>
        </p:blipFill>
        <p:spPr bwMode="auto">
          <a:xfrm>
            <a:off x="16706" y="5302909"/>
            <a:ext cx="5543550" cy="735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664" b="20916"/>
          <a:stretch/>
        </p:blipFill>
        <p:spPr bwMode="auto">
          <a:xfrm>
            <a:off x="16706" y="4457520"/>
            <a:ext cx="5240558" cy="8453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66" t="31005" r="16340" b="35157"/>
          <a:stretch/>
        </p:blipFill>
        <p:spPr bwMode="auto">
          <a:xfrm>
            <a:off x="196287" y="2467155"/>
            <a:ext cx="2745321" cy="1820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9" name="TextBox 28"/>
              <p:cNvSpPr txBox="1"/>
              <p:nvPr/>
            </p:nvSpPr>
            <p:spPr>
              <a:xfrm>
                <a:off x="6501761" y="872152"/>
                <a:ext cx="2141907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/>
                  <a:t>Решение.</a:t>
                </a:r>
              </a:p>
              <a:p>
                <a:r>
                  <a:rPr lang="ru-RU" dirty="0"/>
                  <a:t>Ширина </a:t>
                </a:r>
                <a:r>
                  <a:rPr lang="en-US" dirty="0"/>
                  <a:t>3</a:t>
                </a:r>
                <a:r>
                  <a:rPr lang="ru-RU" dirty="0"/>
                  <a:t>0 см</a:t>
                </a:r>
              </a:p>
              <a:p>
                <a:r>
                  <a:rPr lang="ru-RU" dirty="0"/>
                  <a:t>На 10 см </a:t>
                </a:r>
                <a:r>
                  <a:rPr lang="en-US" dirty="0"/>
                  <a:t>- </a:t>
                </a:r>
                <a:r>
                  <a:rPr lang="ru-RU" dirty="0"/>
                  <a:t>8 петель</a:t>
                </a:r>
                <a:r>
                  <a:rPr lang="en-US" dirty="0"/>
                  <a:t> </a:t>
                </a:r>
                <a:endParaRPr lang="ru-RU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b="0" i="1" smtClean="0">
                          <a:latin typeface="Cambria Math"/>
                        </a:rPr>
                        <m:t>8</m:t>
                      </m:r>
                      <m:r>
                        <a:rPr lang="ru-RU" b="0" i="1" smtClean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3</m:t>
                      </m:r>
                      <m:r>
                        <a:rPr lang="ru-RU" b="0" i="1" smtClean="0">
                          <a:latin typeface="Cambria Math"/>
                          <a:ea typeface="Cambria Math"/>
                        </a:rPr>
                        <m:t>=</m:t>
                      </m:r>
                      <m:r>
                        <a:rPr lang="en-US" b="0" i="1" smtClean="0">
                          <a:latin typeface="Cambria Math"/>
                          <a:ea typeface="Cambria Math"/>
                        </a:rPr>
                        <m:t>24</m:t>
                      </m:r>
                      <m:r>
                        <a:rPr lang="ru-RU" b="0" i="1" smtClean="0">
                          <a:latin typeface="Cambria Math"/>
                          <a:ea typeface="Cambria Math"/>
                        </a:rPr>
                        <m:t>(петли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29" name="TextBox 28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01761" y="872152"/>
                <a:ext cx="2141907" cy="1200329"/>
              </a:xfrm>
              <a:prstGeom prst="rect">
                <a:avLst/>
              </a:prstGeom>
              <a:blipFill rotWithShape="1">
                <a:blip r:embed="rId5"/>
                <a:stretch>
                  <a:fillRect l="-2564" t="-2538" b="-304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/>
              <p:cNvSpPr txBox="1"/>
              <p:nvPr/>
            </p:nvSpPr>
            <p:spPr>
              <a:xfrm>
                <a:off x="9098312" y="864409"/>
                <a:ext cx="2970043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endParaRPr lang="en-US" b="1" dirty="0"/>
              </a:p>
              <a:p>
                <a:r>
                  <a:rPr lang="ru-RU" dirty="0"/>
                  <a:t>Длина 1,8 м=180 см</a:t>
                </a:r>
              </a:p>
              <a:p>
                <a:r>
                  <a:rPr lang="ru-RU" dirty="0"/>
                  <a:t>На 10 см </a:t>
                </a:r>
                <a:r>
                  <a:rPr lang="en-US" dirty="0"/>
                  <a:t>- </a:t>
                </a:r>
                <a:r>
                  <a:rPr lang="ru-RU" dirty="0"/>
                  <a:t>15 рядов</a:t>
                </a:r>
                <a:r>
                  <a:rPr lang="en-US" dirty="0"/>
                  <a:t> </a:t>
                </a:r>
                <a:endParaRPr lang="ru-RU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b="0" i="1" smtClean="0">
                          <a:latin typeface="Cambria Math"/>
                        </a:rPr>
                        <m:t>15</m:t>
                      </m:r>
                      <m:r>
                        <a:rPr lang="ru-RU" b="0" i="1" smtClean="0">
                          <a:latin typeface="Cambria Math"/>
                          <a:ea typeface="Cambria Math"/>
                        </a:rPr>
                        <m:t>∙18=270(рядов)</m:t>
                      </m:r>
                    </m:oMath>
                  </m:oMathPara>
                </a14:m>
                <a:endParaRPr lang="ru-RU" dirty="0"/>
              </a:p>
            </p:txBody>
          </p:sp>
        </mc:Choice>
        <mc:Fallback xmlns="">
          <p:sp>
            <p:nvSpPr>
              <p:cNvPr id="30" name="TextBox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098312" y="864409"/>
                <a:ext cx="2970043" cy="1200329"/>
              </a:xfrm>
              <a:prstGeom prst="rect">
                <a:avLst/>
              </a:prstGeom>
              <a:blipFill rotWithShape="1">
                <a:blip r:embed="rId6"/>
                <a:stretch>
                  <a:fillRect l="-1848" b="-304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TextBox 30"/>
          <p:cNvSpPr txBox="1"/>
          <p:nvPr/>
        </p:nvSpPr>
        <p:spPr>
          <a:xfrm>
            <a:off x="6576843" y="2329133"/>
            <a:ext cx="4249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Ответ. </a:t>
            </a:r>
            <a:r>
              <a:rPr lang="ru-RU" dirty="0"/>
              <a:t>24 петли, 270 рядов</a:t>
            </a: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761" y="2897129"/>
            <a:ext cx="5406015" cy="15300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694812"/>
              </p:ext>
            </p:extLst>
          </p:nvPr>
        </p:nvGraphicFramePr>
        <p:xfrm>
          <a:off x="6592360" y="4801585"/>
          <a:ext cx="5189544" cy="1158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044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60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90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Контекст</a:t>
                      </a:r>
                    </a:p>
                  </a:txBody>
                  <a:tcP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Математическое содержание</a:t>
                      </a:r>
                    </a:p>
                  </a:txBody>
                  <a:tcP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Виды деятельности</a:t>
                      </a:r>
                    </a:p>
                  </a:txBody>
                  <a:tcPr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Личная</a:t>
                      </a:r>
                      <a:r>
                        <a:rPr lang="ru-RU" sz="1600" baseline="0" dirty="0"/>
                        <a:t> жизнь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Количеств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Формулировать</a:t>
                      </a:r>
                    </a:p>
                    <a:p>
                      <a:r>
                        <a:rPr lang="ru-RU" sz="1600" dirty="0"/>
                        <a:t>Применять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113606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90"/>
          <a:stretch/>
        </p:blipFill>
        <p:spPr bwMode="auto">
          <a:xfrm>
            <a:off x="6480396" y="194745"/>
            <a:ext cx="5159871" cy="3846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796" y="4199960"/>
            <a:ext cx="5626669" cy="2286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36"/>
          <a:stretch/>
        </p:blipFill>
        <p:spPr bwMode="auto">
          <a:xfrm>
            <a:off x="244876" y="3004500"/>
            <a:ext cx="5605794" cy="2602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0416329" y="567355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16329" y="1107199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063310" y="1650663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4228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90"/>
          <a:stretch/>
        </p:blipFill>
        <p:spPr bwMode="auto">
          <a:xfrm>
            <a:off x="6480396" y="194745"/>
            <a:ext cx="5159871" cy="3846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796" y="4199960"/>
            <a:ext cx="5626669" cy="2286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36"/>
          <a:stretch/>
        </p:blipFill>
        <p:spPr bwMode="auto">
          <a:xfrm>
            <a:off x="244876" y="3004500"/>
            <a:ext cx="5605794" cy="2602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0416329" y="567355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16329" y="1107199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063310" y="1650663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7998" y="5538836"/>
            <a:ext cx="614579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C00000"/>
                </a:solidFill>
              </a:rPr>
              <a:t>Площадь большого круга равна сумме площадей четырёх маленьких. </a:t>
            </a:r>
          </a:p>
          <a:p>
            <a:r>
              <a:rPr lang="ru-RU" sz="1200" b="1" dirty="0">
                <a:solidFill>
                  <a:srgbClr val="C00000"/>
                </a:solidFill>
              </a:rPr>
              <a:t>На рисунке видно, что площадь большого круга складывается из суммы площадей четырёх жёлтых фрагментов и четырёх маленьких кругов без оранжевых фрагментов (каждый оранжевый фрагмент входит в 2 маленьких круга, значит, его площадь в сумму входит дважды). Следовательно, оранжевые фрагменты «уравновешивают» жёлтые</a:t>
            </a:r>
          </a:p>
        </p:txBody>
      </p:sp>
    </p:spTree>
    <p:extLst>
      <p:ext uri="{BB962C8B-B14F-4D97-AF65-F5344CB8AC3E}">
        <p14:creationId xmlns:p14="http://schemas.microsoft.com/office/powerpoint/2010/main" val="1965556285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90"/>
          <a:stretch/>
        </p:blipFill>
        <p:spPr bwMode="auto">
          <a:xfrm>
            <a:off x="6480396" y="194745"/>
            <a:ext cx="5159871" cy="3846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796" y="4199960"/>
            <a:ext cx="5626669" cy="2286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36"/>
          <a:stretch/>
        </p:blipFill>
        <p:spPr bwMode="auto">
          <a:xfrm>
            <a:off x="244876" y="3004500"/>
            <a:ext cx="5605794" cy="2602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0416329" y="567355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16329" y="1107199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063310" y="1650663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678216" y="332131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37446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90"/>
          <a:stretch/>
        </p:blipFill>
        <p:spPr bwMode="auto">
          <a:xfrm>
            <a:off x="6480396" y="194745"/>
            <a:ext cx="5159871" cy="3846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796" y="4199960"/>
            <a:ext cx="5626669" cy="2286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36"/>
          <a:stretch/>
        </p:blipFill>
        <p:spPr bwMode="auto">
          <a:xfrm>
            <a:off x="244876" y="3004500"/>
            <a:ext cx="5605794" cy="2602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0416329" y="567355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16329" y="1107199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063310" y="1650663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678216" y="332131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7194" y="5704339"/>
            <a:ext cx="54804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C00000"/>
                </a:solidFill>
              </a:rPr>
              <a:t>Длина стороны коробки (рис. 1) равна диаметру блина, то есть 40 см. </a:t>
            </a:r>
          </a:p>
          <a:p>
            <a:r>
              <a:rPr lang="ru-RU" sz="1200" b="1" dirty="0">
                <a:solidFill>
                  <a:srgbClr val="C00000"/>
                </a:solidFill>
              </a:rPr>
              <a:t>Длина стороны коробки (рис. 2) равна двум диаметрам маленького блина, </a:t>
            </a:r>
          </a:p>
          <a:p>
            <a:r>
              <a:rPr lang="ru-RU" sz="1200" b="1" dirty="0">
                <a:solidFill>
                  <a:srgbClr val="C00000"/>
                </a:solidFill>
              </a:rPr>
              <a:t>то есть 20 + 20 = 40 (см)</a:t>
            </a:r>
          </a:p>
        </p:txBody>
      </p:sp>
    </p:spTree>
    <p:extLst>
      <p:ext uri="{BB962C8B-B14F-4D97-AF65-F5344CB8AC3E}">
        <p14:creationId xmlns:p14="http://schemas.microsoft.com/office/powerpoint/2010/main" val="215550330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90"/>
          <a:stretch/>
        </p:blipFill>
        <p:spPr bwMode="auto">
          <a:xfrm>
            <a:off x="6480396" y="194745"/>
            <a:ext cx="5159871" cy="3846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796" y="4199960"/>
            <a:ext cx="5626669" cy="2286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36"/>
          <a:stretch/>
        </p:blipFill>
        <p:spPr bwMode="auto">
          <a:xfrm>
            <a:off x="244876" y="3004500"/>
            <a:ext cx="5605794" cy="2602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0416329" y="567355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16329" y="1107199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063310" y="1650663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678216" y="332131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1395362" y="582297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709626" y="5158349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59063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580" y="501191"/>
            <a:ext cx="249555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30" y="1110791"/>
            <a:ext cx="5962650" cy="168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8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890"/>
          <a:stretch/>
        </p:blipFill>
        <p:spPr bwMode="auto">
          <a:xfrm>
            <a:off x="6480396" y="194745"/>
            <a:ext cx="5159871" cy="3846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796" y="4199960"/>
            <a:ext cx="5626669" cy="2286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936"/>
          <a:stretch/>
        </p:blipFill>
        <p:spPr bwMode="auto">
          <a:xfrm>
            <a:off x="244876" y="3004500"/>
            <a:ext cx="5605794" cy="26026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0416329" y="567355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0416329" y="1107199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1063310" y="1650663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678216" y="332131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11395362" y="582297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0709626" y="5158349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7796" y="5607170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b="1" dirty="0">
                <a:solidFill>
                  <a:srgbClr val="C00000"/>
                </a:solidFill>
              </a:rPr>
              <a:t>Площадь поверхности одного большого блина в 4 раза больше площади поверхности одного маленького блина, поэтому на него уйдёт в 4 раза больше варенья. Следовательно, одной банки варенья хватит на в 4 раза большее количество маленьких блинов, чем больших.</a:t>
            </a:r>
          </a:p>
        </p:txBody>
      </p:sp>
    </p:spTree>
    <p:extLst>
      <p:ext uri="{BB962C8B-B14F-4D97-AF65-F5344CB8AC3E}">
        <p14:creationId xmlns:p14="http://schemas.microsoft.com/office/powerpoint/2010/main" val="425562393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29443"/>
            <a:ext cx="21812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90" y="896605"/>
            <a:ext cx="7143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1182355"/>
            <a:ext cx="40481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843" y="183397"/>
            <a:ext cx="1419225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6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1654654"/>
            <a:ext cx="5502391" cy="1735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7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3476445"/>
            <a:ext cx="5502391" cy="1545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28703153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29443"/>
            <a:ext cx="21812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90" y="896605"/>
            <a:ext cx="7143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1182355"/>
            <a:ext cx="40481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843" y="183397"/>
            <a:ext cx="1419225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6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1654654"/>
            <a:ext cx="5502391" cy="1735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7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3476445"/>
            <a:ext cx="5502391" cy="1545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288227" y="4652427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Прямоугольник 30"/>
              <p:cNvSpPr/>
              <p:nvPr/>
            </p:nvSpPr>
            <p:spPr>
              <a:xfrm>
                <a:off x="6452558" y="176489"/>
                <a:ext cx="5589917" cy="27604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600" b="1" dirty="0"/>
                  <a:t>Обоснование.</a:t>
                </a:r>
              </a:p>
              <a:p>
                <a:r>
                  <a:rPr lang="ru-RU" sz="1600" dirty="0"/>
                  <a:t>Формула площади круга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/>
                      </a:rPr>
                      <m:t>𝑆</m:t>
                    </m:r>
                    <m:r>
                      <a:rPr lang="en-US" sz="1600" b="0" i="1" smtClean="0">
                        <a:latin typeface="Cambria Math"/>
                      </a:rPr>
                      <m:t>=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  <m:r>
                      <a:rPr lang="en-US" sz="1600" b="0" i="1" smtClean="0">
                        <a:latin typeface="Cambria Math"/>
                        <a:ea typeface="Cambria Math"/>
                      </a:rPr>
                      <m:t>.</m:t>
                    </m:r>
                  </m:oMath>
                </a14:m>
                <a:endParaRPr lang="en-US" sz="1600" b="0" dirty="0">
                  <a:ea typeface="Cambria Math"/>
                </a:endParaRPr>
              </a:p>
              <a:p>
                <a:r>
                  <a:rPr lang="ru-RU" sz="1600" dirty="0"/>
                  <a:t>Площадь блина на большой сковороде равна </a:t>
                </a:r>
                <a:endParaRPr lang="ru-RU" sz="1600" i="1" dirty="0">
                  <a:latin typeface="Cambria Math"/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i="1" smtClean="0">
                          <a:latin typeface="Cambria Math"/>
                          <a:ea typeface="Cambria Math"/>
                        </a:rPr>
                        <m:t>𝜋</m:t>
                      </m:r>
                      <m:r>
                        <a:rPr lang="ru-RU" sz="1600" i="1" smtClean="0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ru-RU" sz="160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ru-RU" sz="1600" b="0" i="1" smtClean="0">
                              <a:latin typeface="Cambria Math"/>
                              <a:ea typeface="Cambria Math"/>
                            </a:rPr>
                            <m:t>12</m:t>
                          </m:r>
                        </m:e>
                        <m:sup>
                          <m:r>
                            <a:rPr lang="ru-RU" sz="1600" b="0" i="1" smtClean="0">
                              <a:latin typeface="Cambria Math"/>
                              <a:ea typeface="Cambria Math"/>
                            </a:rPr>
                            <m:t>2</m:t>
                          </m:r>
                        </m:sup>
                      </m:sSup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=144</m:t>
                      </m:r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𝜋</m:t>
                      </m:r>
                    </m:oMath>
                  </m:oMathPara>
                </a14:m>
                <a:endParaRPr lang="ru-RU" sz="1600" dirty="0"/>
              </a:p>
              <a:p>
                <a:r>
                  <a:rPr lang="ru-RU" sz="1600" dirty="0"/>
                  <a:t>Площадь блина на маленькой сковороде равна </a:t>
                </a:r>
                <a:endParaRPr lang="ru-RU" sz="1600" i="1" dirty="0">
                  <a:latin typeface="Cambria Math"/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i="1">
                          <a:latin typeface="Cambria Math"/>
                          <a:ea typeface="Cambria Math"/>
                        </a:rPr>
                        <m:t>𝜋</m:t>
                      </m:r>
                      <m:r>
                        <a:rPr lang="ru-RU" sz="16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ru-RU" sz="1600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ru-RU" sz="1600" b="0" i="1" smtClean="0">
                              <a:latin typeface="Cambria Math"/>
                              <a:ea typeface="Cambria Math"/>
                            </a:rPr>
                            <m:t>6</m:t>
                          </m:r>
                        </m:e>
                        <m:sup>
                          <m:r>
                            <a:rPr lang="ru-RU" sz="1600" i="1">
                              <a:latin typeface="Cambria Math"/>
                              <a:ea typeface="Cambria Math"/>
                            </a:rPr>
                            <m:t>2</m:t>
                          </m:r>
                        </m:sup>
                      </m:sSup>
                      <m:r>
                        <a:rPr lang="ru-RU" sz="1600" i="1">
                          <a:latin typeface="Cambria Math"/>
                          <a:ea typeface="Cambria Math"/>
                        </a:rPr>
                        <m:t>=</m:t>
                      </m:r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36</m:t>
                      </m:r>
                      <m:r>
                        <a:rPr lang="ru-RU" sz="1600" i="1">
                          <a:latin typeface="Cambria Math"/>
                          <a:ea typeface="Cambria Math"/>
                        </a:rPr>
                        <m:t>𝜋</m:t>
                      </m:r>
                    </m:oMath>
                  </m:oMathPara>
                </a14:m>
                <a:endParaRPr lang="ru-RU" sz="1600" dirty="0"/>
              </a:p>
              <a:p>
                <a:r>
                  <a:rPr lang="ru-RU" sz="1600" dirty="0"/>
                  <a:t>На маленькой сковороде блинов будет в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1600" b="0" i="1" smtClean="0">
                            <a:latin typeface="Cambria Math"/>
                          </a:rPr>
                          <m:t>144</m:t>
                        </m:r>
                      </m:num>
                      <m:den>
                        <m:r>
                          <a:rPr lang="ru-RU" sz="1600" b="0" i="1" smtClean="0">
                            <a:latin typeface="Cambria Math"/>
                          </a:rPr>
                          <m:t>36</m:t>
                        </m:r>
                      </m:den>
                    </m:f>
                    <m:r>
                      <a:rPr lang="ru-RU" sz="1600" b="0" i="1" smtClean="0">
                        <a:latin typeface="Cambria Math"/>
                      </a:rPr>
                      <m:t>=4</m:t>
                    </m:r>
                  </m:oMath>
                </a14:m>
                <a:r>
                  <a:rPr lang="ru-RU" sz="1600" dirty="0"/>
                  <a:t> раза больше, чем на большой сковороде, то есть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ru-RU" sz="1600" b="0" i="1" smtClean="0">
                        <a:latin typeface="Cambria Math"/>
                      </a:rPr>
                      <m:t>20</m:t>
                    </m:r>
                    <m:r>
                      <a:rPr lang="ru-RU" sz="1600" b="0" i="1" smtClean="0">
                        <a:latin typeface="Cambria Math"/>
                        <a:ea typeface="Cambria Math"/>
                      </a:rPr>
                      <m:t>∙4=80</m:t>
                    </m:r>
                  </m:oMath>
                </a14:m>
                <a:r>
                  <a:rPr lang="ru-RU" sz="1600" dirty="0"/>
                  <a:t> (блинов)</a:t>
                </a:r>
              </a:p>
              <a:p>
                <a:endParaRPr lang="ru-RU" sz="1600" dirty="0"/>
              </a:p>
            </p:txBody>
          </p:sp>
        </mc:Choice>
        <mc:Fallback xmlns="">
          <p:sp>
            <p:nvSpPr>
              <p:cNvPr id="31" name="Прямоугольник 3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52558" y="176489"/>
                <a:ext cx="5589917" cy="2760499"/>
              </a:xfrm>
              <a:prstGeom prst="rect">
                <a:avLst/>
              </a:prstGeom>
              <a:blipFill rotWithShape="1">
                <a:blip r:embed="rId11"/>
                <a:stretch>
                  <a:fillRect l="-545" t="-662" r="-12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79429298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29443"/>
            <a:ext cx="21812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90" y="896605"/>
            <a:ext cx="7143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1182355"/>
            <a:ext cx="40481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843" y="183397"/>
            <a:ext cx="1419225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6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1654654"/>
            <a:ext cx="5502391" cy="1735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7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3476445"/>
            <a:ext cx="5502391" cy="15453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288227" y="4652427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Прямоугольник 30"/>
              <p:cNvSpPr/>
              <p:nvPr/>
            </p:nvSpPr>
            <p:spPr>
              <a:xfrm>
                <a:off x="6452558" y="176489"/>
                <a:ext cx="5589917" cy="27604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600" b="1" dirty="0"/>
                  <a:t>Обоснование.</a:t>
                </a:r>
              </a:p>
              <a:p>
                <a:r>
                  <a:rPr lang="ru-RU" sz="1600" dirty="0"/>
                  <a:t>Формула площади круга </a:t>
                </a:r>
                <a14:m>
                  <m:oMath xmlns:m="http://schemas.openxmlformats.org/officeDocument/2006/math">
                    <m:r>
                      <a:rPr lang="en-US" sz="1600" b="0" i="1" smtClean="0">
                        <a:latin typeface="Cambria Math"/>
                      </a:rPr>
                      <m:t>𝑆</m:t>
                    </m:r>
                    <m:r>
                      <a:rPr lang="en-US" sz="1600" b="0" i="1" smtClean="0">
                        <a:latin typeface="Cambria Math"/>
                      </a:rPr>
                      <m:t>=</m:t>
                    </m:r>
                    <m:r>
                      <a:rPr lang="en-US" sz="1600" b="0" i="1" smtClean="0">
                        <a:latin typeface="Cambria Math"/>
                        <a:ea typeface="Cambria Math"/>
                      </a:rPr>
                      <m:t>𝜋</m:t>
                    </m:r>
                    <m:sSup>
                      <m:sSupPr>
                        <m:ctrlPr>
                          <a:rPr lang="en-US" sz="16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𝑟</m:t>
                        </m:r>
                      </m:e>
                      <m:sup>
                        <m:r>
                          <a:rPr lang="en-US" sz="16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  <m:r>
                      <a:rPr lang="en-US" sz="1600" b="0" i="1" smtClean="0">
                        <a:latin typeface="Cambria Math"/>
                        <a:ea typeface="Cambria Math"/>
                      </a:rPr>
                      <m:t>.</m:t>
                    </m:r>
                  </m:oMath>
                </a14:m>
                <a:endParaRPr lang="en-US" sz="1600" b="0" dirty="0">
                  <a:ea typeface="Cambria Math"/>
                </a:endParaRPr>
              </a:p>
              <a:p>
                <a:r>
                  <a:rPr lang="ru-RU" sz="1600" dirty="0"/>
                  <a:t>Площадь блина на большой сковороде равна </a:t>
                </a:r>
                <a:endParaRPr lang="ru-RU" sz="1600" i="1" dirty="0">
                  <a:latin typeface="Cambria Math"/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i="1" smtClean="0">
                          <a:latin typeface="Cambria Math"/>
                          <a:ea typeface="Cambria Math"/>
                        </a:rPr>
                        <m:t>𝜋</m:t>
                      </m:r>
                      <m:r>
                        <a:rPr lang="ru-RU" sz="1600" i="1" smtClean="0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ru-RU" sz="160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ru-RU" sz="1600" b="0" i="1" smtClean="0">
                              <a:latin typeface="Cambria Math"/>
                              <a:ea typeface="Cambria Math"/>
                            </a:rPr>
                            <m:t>12</m:t>
                          </m:r>
                        </m:e>
                        <m:sup>
                          <m:r>
                            <a:rPr lang="ru-RU" sz="1600" b="0" i="1" smtClean="0">
                              <a:latin typeface="Cambria Math"/>
                              <a:ea typeface="Cambria Math"/>
                            </a:rPr>
                            <m:t>2</m:t>
                          </m:r>
                        </m:sup>
                      </m:sSup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=144</m:t>
                      </m:r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𝜋</m:t>
                      </m:r>
                    </m:oMath>
                  </m:oMathPara>
                </a14:m>
                <a:endParaRPr lang="ru-RU" sz="1600" dirty="0"/>
              </a:p>
              <a:p>
                <a:r>
                  <a:rPr lang="ru-RU" sz="1600" dirty="0"/>
                  <a:t>Площадь блина на маленькой сковороде равна </a:t>
                </a:r>
                <a:endParaRPr lang="ru-RU" sz="1600" i="1" dirty="0">
                  <a:latin typeface="Cambria Math"/>
                  <a:ea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ru-RU" sz="1600" i="1">
                          <a:latin typeface="Cambria Math"/>
                          <a:ea typeface="Cambria Math"/>
                        </a:rPr>
                        <m:t>𝜋</m:t>
                      </m:r>
                      <m:r>
                        <a:rPr lang="ru-RU" sz="1600" i="1">
                          <a:latin typeface="Cambria Math"/>
                          <a:ea typeface="Cambria Math"/>
                        </a:rPr>
                        <m:t>∙</m:t>
                      </m:r>
                      <m:sSup>
                        <m:sSupPr>
                          <m:ctrlPr>
                            <a:rPr lang="ru-RU" sz="1600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sSupPr>
                        <m:e>
                          <m:r>
                            <a:rPr lang="ru-RU" sz="1600" b="0" i="1" smtClean="0">
                              <a:latin typeface="Cambria Math"/>
                              <a:ea typeface="Cambria Math"/>
                            </a:rPr>
                            <m:t>6</m:t>
                          </m:r>
                        </m:e>
                        <m:sup>
                          <m:r>
                            <a:rPr lang="ru-RU" sz="1600" i="1">
                              <a:latin typeface="Cambria Math"/>
                              <a:ea typeface="Cambria Math"/>
                            </a:rPr>
                            <m:t>2</m:t>
                          </m:r>
                        </m:sup>
                      </m:sSup>
                      <m:r>
                        <a:rPr lang="ru-RU" sz="1600" i="1">
                          <a:latin typeface="Cambria Math"/>
                          <a:ea typeface="Cambria Math"/>
                        </a:rPr>
                        <m:t>=</m:t>
                      </m:r>
                      <m:r>
                        <a:rPr lang="ru-RU" sz="1600" b="0" i="1" smtClean="0">
                          <a:latin typeface="Cambria Math"/>
                          <a:ea typeface="Cambria Math"/>
                        </a:rPr>
                        <m:t>36</m:t>
                      </m:r>
                      <m:r>
                        <a:rPr lang="ru-RU" sz="1600" i="1">
                          <a:latin typeface="Cambria Math"/>
                          <a:ea typeface="Cambria Math"/>
                        </a:rPr>
                        <m:t>𝜋</m:t>
                      </m:r>
                    </m:oMath>
                  </m:oMathPara>
                </a14:m>
                <a:endParaRPr lang="ru-RU" sz="1600" dirty="0"/>
              </a:p>
              <a:p>
                <a:r>
                  <a:rPr lang="ru-RU" sz="1600" dirty="0"/>
                  <a:t>На маленькой сковороде блинов будет в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6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1600" b="0" i="1" smtClean="0">
                            <a:latin typeface="Cambria Math"/>
                          </a:rPr>
                          <m:t>144</m:t>
                        </m:r>
                      </m:num>
                      <m:den>
                        <m:r>
                          <a:rPr lang="ru-RU" sz="1600" b="0" i="1" smtClean="0">
                            <a:latin typeface="Cambria Math"/>
                          </a:rPr>
                          <m:t>36</m:t>
                        </m:r>
                      </m:den>
                    </m:f>
                    <m:r>
                      <a:rPr lang="ru-RU" sz="1600" b="0" i="1" smtClean="0">
                        <a:latin typeface="Cambria Math"/>
                      </a:rPr>
                      <m:t>=4</m:t>
                    </m:r>
                  </m:oMath>
                </a14:m>
                <a:r>
                  <a:rPr lang="ru-RU" sz="1600" dirty="0"/>
                  <a:t> раза больше, чем на большой сковороде, то есть</a:t>
                </a:r>
              </a:p>
              <a:p>
                <a:pPr algn="ctr"/>
                <a14:m>
                  <m:oMath xmlns:m="http://schemas.openxmlformats.org/officeDocument/2006/math">
                    <m:r>
                      <a:rPr lang="ru-RU" sz="1600" b="0" i="1" smtClean="0">
                        <a:latin typeface="Cambria Math"/>
                      </a:rPr>
                      <m:t>20</m:t>
                    </m:r>
                    <m:r>
                      <a:rPr lang="ru-RU" sz="1600" b="0" i="1" smtClean="0">
                        <a:latin typeface="Cambria Math"/>
                        <a:ea typeface="Cambria Math"/>
                      </a:rPr>
                      <m:t>∙4=80</m:t>
                    </m:r>
                  </m:oMath>
                </a14:m>
                <a:r>
                  <a:rPr lang="ru-RU" sz="1600" dirty="0"/>
                  <a:t> (блинов)</a:t>
                </a:r>
              </a:p>
              <a:p>
                <a:endParaRPr lang="ru-RU" sz="1600" dirty="0"/>
              </a:p>
            </p:txBody>
          </p:sp>
        </mc:Choice>
        <mc:Fallback xmlns="">
          <p:sp>
            <p:nvSpPr>
              <p:cNvPr id="31" name="Прямоугольник 30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452558" y="176489"/>
                <a:ext cx="5589917" cy="2760499"/>
              </a:xfrm>
              <a:prstGeom prst="rect">
                <a:avLst/>
              </a:prstGeom>
              <a:blipFill rotWithShape="1">
                <a:blip r:embed="rId11"/>
                <a:stretch>
                  <a:fillRect l="-545" t="-662" r="-120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" name="Прямоугольник 2"/>
          <p:cNvSpPr/>
          <p:nvPr/>
        </p:nvSpPr>
        <p:spPr>
          <a:xfrm>
            <a:off x="6092949" y="3623095"/>
            <a:ext cx="5647246" cy="830997"/>
          </a:xfrm>
          <a:prstGeom prst="rect">
            <a:avLst/>
          </a:prstGeom>
          <a:solidFill>
            <a:srgbClr val="D1E2F3"/>
          </a:solidFill>
        </p:spPr>
        <p:txBody>
          <a:bodyPr wrap="square">
            <a:spAutoFit/>
          </a:bodyPr>
          <a:lstStyle/>
          <a:p>
            <a:r>
              <a:rPr lang="ru-RU" sz="1600" b="1" dirty="0"/>
              <a:t>1 балл </a:t>
            </a:r>
            <a:r>
              <a:rPr lang="ru-RU" sz="1600" dirty="0"/>
              <a:t>— дан верный ответ и приведено обоснование;</a:t>
            </a:r>
          </a:p>
          <a:p>
            <a:r>
              <a:rPr lang="ru-RU" sz="1600" b="1" dirty="0"/>
              <a:t>0 баллов — </a:t>
            </a:r>
            <a:r>
              <a:rPr lang="ru-RU" sz="1600" dirty="0"/>
              <a:t>дан другой ответ ИЛИ ответ отсутствует ИЛИ дан верный ответ, но обоснование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592192579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093"/>
          <a:stretch/>
        </p:blipFill>
        <p:spPr bwMode="auto">
          <a:xfrm>
            <a:off x="6248225" y="383452"/>
            <a:ext cx="5621458" cy="1664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29443"/>
            <a:ext cx="21812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90" y="896605"/>
            <a:ext cx="7143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1182355"/>
            <a:ext cx="40481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843" y="183397"/>
            <a:ext cx="1419225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1654654"/>
            <a:ext cx="5502391" cy="1735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6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071"/>
          <a:stretch/>
        </p:blipFill>
        <p:spPr bwMode="auto">
          <a:xfrm>
            <a:off x="122032" y="3390181"/>
            <a:ext cx="5621458" cy="245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67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2173" y="2047670"/>
            <a:ext cx="5433562" cy="1796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68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1428" y="3975969"/>
            <a:ext cx="2816972" cy="1026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51829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бота с ситуацией (контекстом)</a:t>
            </a:r>
            <a:endParaRPr lang="ru-RU" sz="2000" dirty="0"/>
          </a:p>
        </p:txBody>
      </p:sp>
      <p:pic>
        <p:nvPicPr>
          <p:cNvPr id="97282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57" b="70977"/>
          <a:stretch/>
        </p:blipFill>
        <p:spPr bwMode="auto">
          <a:xfrm>
            <a:off x="-4216" y="759125"/>
            <a:ext cx="5240558" cy="1570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33" t="79028" r="29935"/>
          <a:stretch/>
        </p:blipFill>
        <p:spPr bwMode="auto">
          <a:xfrm>
            <a:off x="3187395" y="2663421"/>
            <a:ext cx="1820173" cy="14275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66" t="31005" r="16340" b="35157"/>
          <a:stretch/>
        </p:blipFill>
        <p:spPr bwMode="auto">
          <a:xfrm>
            <a:off x="196287" y="2467155"/>
            <a:ext cx="2745321" cy="1820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202" b="52672"/>
          <a:stretch/>
        </p:blipFill>
        <p:spPr bwMode="auto">
          <a:xfrm>
            <a:off x="-4216" y="4477110"/>
            <a:ext cx="5369846" cy="568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Box 29"/>
              <p:cNvSpPr txBox="1"/>
              <p:nvPr/>
            </p:nvSpPr>
            <p:spPr>
              <a:xfrm>
                <a:off x="5913939" y="776379"/>
                <a:ext cx="6085403" cy="255736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b="1" dirty="0"/>
                  <a:t>Решение.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b="0" i="1" smtClean="0">
                          <a:latin typeface="Cambria Math"/>
                        </a:rPr>
                        <m:t>1) </m:t>
                      </m:r>
                      <m:r>
                        <a:rPr lang="ru-RU" i="1" dirty="0">
                          <a:latin typeface="Cambria Math"/>
                        </a:rPr>
                        <m:t>0,5 </m:t>
                      </m:r>
                      <m:r>
                        <a:rPr lang="ru-RU" i="1" dirty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ru-RU" i="1" dirty="0">
                          <a:latin typeface="Cambria Math"/>
                        </a:rPr>
                        <m:t>1</m:t>
                      </m:r>
                      <m:r>
                        <a:rPr lang="ru-RU" i="1" dirty="0">
                          <a:latin typeface="Cambria Math"/>
                          <a:ea typeface="Cambria Math"/>
                        </a:rPr>
                        <m:t>∙2</m:t>
                      </m:r>
                      <m:r>
                        <a:rPr lang="ru-RU" i="1" dirty="0">
                          <a:latin typeface="Cambria Math"/>
                        </a:rPr>
                        <m:t> =1 </m:t>
                      </m:r>
                      <m:d>
                        <m:dPr>
                          <m:ctrlPr>
                            <a:rPr lang="ru-RU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ru-RU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i="1" dirty="0">
                                  <a:latin typeface="Cambria Math"/>
                                </a:rPr>
                                <m:t>м</m:t>
                              </m:r>
                            </m:e>
                            <m:sup>
                              <m:r>
                                <a:rPr lang="ru-RU" i="1" dirty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ru-RU" i="1" dirty="0">
                          <a:latin typeface="Cambria Math"/>
                        </a:rPr>
                        <m:t>−площадь накидки;</m:t>
                      </m:r>
                    </m:oMath>
                  </m:oMathPara>
                </a14:m>
                <a:endParaRPr lang="ru-RU" i="1" dirty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b="0" i="1" smtClean="0">
                          <a:latin typeface="Cambria Math"/>
                        </a:rPr>
                        <m:t>2) </m:t>
                      </m:r>
                      <m:r>
                        <a:rPr lang="ru-RU" i="1" dirty="0">
                          <a:latin typeface="Cambria Math"/>
                        </a:rPr>
                        <m:t>0,3 </m:t>
                      </m:r>
                      <m:r>
                        <a:rPr lang="ru-RU" i="1" dirty="0">
                          <a:latin typeface="Cambria Math"/>
                          <a:ea typeface="Cambria Math"/>
                        </a:rPr>
                        <m:t>∙</m:t>
                      </m:r>
                      <m:r>
                        <a:rPr lang="ru-RU" i="1" dirty="0">
                          <a:latin typeface="Cambria Math"/>
                        </a:rPr>
                        <m:t>1,8 = 0,54 </m:t>
                      </m:r>
                      <m:d>
                        <m:dPr>
                          <m:ctrlPr>
                            <a:rPr lang="ru-RU" i="1" dirty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sSup>
                            <m:sSupPr>
                              <m:ctrlPr>
                                <a:rPr lang="ru-RU" i="1" dirty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ru-RU" i="1" dirty="0">
                                  <a:latin typeface="Cambria Math"/>
                                </a:rPr>
                                <m:t>м</m:t>
                              </m:r>
                            </m:e>
                            <m:sup>
                              <m:r>
                                <a:rPr lang="ru-RU" i="1" dirty="0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  <m:r>
                        <a:rPr lang="ru-RU" i="1" dirty="0">
                          <a:latin typeface="Cambria Math"/>
                        </a:rPr>
                        <m:t>−площадь шарфа для брата.</m:t>
                      </m:r>
                    </m:oMath>
                  </m:oMathPara>
                </a14:m>
                <a:endParaRPr lang="ru-RU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b="0" i="1" dirty="0" smtClean="0">
                          <a:latin typeface="Cambria Math"/>
                        </a:rPr>
                        <m:t>3</m:t>
                      </m:r>
                      <m:r>
                        <a:rPr lang="ru-RU" i="1" dirty="0" smtClean="0">
                          <a:latin typeface="Cambria Math"/>
                        </a:rPr>
                        <m:t>)</m:t>
                      </m:r>
                      <m:r>
                        <a:rPr lang="ru-RU" b="0" i="1" dirty="0" smtClean="0">
                          <a:latin typeface="Cambria Math"/>
                        </a:rPr>
                        <m:t> 300</m:t>
                      </m:r>
                      <m:r>
                        <a:rPr lang="ru-RU" b="0" i="1" dirty="0" smtClean="0">
                          <a:latin typeface="Cambria Math"/>
                          <a:ea typeface="Cambria Math"/>
                        </a:rPr>
                        <m:t>:0,54=</m:t>
                      </m:r>
                      <m:f>
                        <m:fPr>
                          <m:ctrlPr>
                            <a:rPr lang="ru-RU" b="0" i="1" dirty="0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ru-RU" b="0" i="1" dirty="0" smtClean="0">
                              <a:latin typeface="Cambria Math"/>
                              <a:ea typeface="Cambria Math"/>
                            </a:rPr>
                            <m:t>300∙100</m:t>
                          </m:r>
                        </m:num>
                        <m:den>
                          <m:r>
                            <a:rPr lang="ru-RU" b="0" i="1" dirty="0" smtClean="0">
                              <a:latin typeface="Cambria Math"/>
                              <a:ea typeface="Cambria Math"/>
                            </a:rPr>
                            <m:t>54</m:t>
                          </m:r>
                        </m:den>
                      </m:f>
                      <m:r>
                        <a:rPr lang="ru-RU" b="0" i="1" dirty="0" smtClean="0">
                          <a:latin typeface="Cambria Math"/>
                          <a:ea typeface="Cambria Math"/>
                        </a:rPr>
                        <m:t>=</m:t>
                      </m:r>
                      <m:f>
                        <m:fPr>
                          <m:ctrlPr>
                            <a:rPr lang="ru-RU" b="0" i="1" dirty="0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ru-RU" b="0" i="1" dirty="0" smtClean="0">
                              <a:latin typeface="Cambria Math"/>
                              <a:ea typeface="Cambria Math"/>
                            </a:rPr>
                            <m:t>15000</m:t>
                          </m:r>
                        </m:num>
                        <m:den>
                          <m:r>
                            <a:rPr lang="ru-RU" b="0" i="1" dirty="0" smtClean="0">
                              <a:latin typeface="Cambria Math"/>
                              <a:ea typeface="Cambria Math"/>
                            </a:rPr>
                            <m:t>27</m:t>
                          </m:r>
                        </m:den>
                      </m:f>
                      <m:r>
                        <a:rPr lang="ru-RU" b="0" i="1" dirty="0" smtClean="0">
                          <a:latin typeface="Cambria Math"/>
                          <a:ea typeface="Cambria Math"/>
                        </a:rPr>
                        <m:t>=555</m:t>
                      </m:r>
                      <m:f>
                        <m:fPr>
                          <m:ctrlPr>
                            <a:rPr lang="ru-RU" b="0" i="1" dirty="0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ru-RU" b="0" i="1" dirty="0" smtClean="0">
                              <a:latin typeface="Cambria Math"/>
                              <a:ea typeface="Cambria Math"/>
                            </a:rPr>
                            <m:t>15</m:t>
                          </m:r>
                        </m:num>
                        <m:den>
                          <m:r>
                            <a:rPr lang="ru-RU" b="0" i="1" dirty="0" smtClean="0">
                              <a:latin typeface="Cambria Math"/>
                              <a:ea typeface="Cambria Math"/>
                            </a:rPr>
                            <m:t>27</m:t>
                          </m:r>
                        </m:den>
                      </m:f>
                      <m:r>
                        <a:rPr lang="ru-RU" b="0" i="1" dirty="0" smtClean="0">
                          <a:latin typeface="Cambria Math"/>
                          <a:ea typeface="Cambria Math"/>
                        </a:rPr>
                        <m:t>≈556</m:t>
                      </m:r>
                      <m:d>
                        <m:dPr>
                          <m:ctrlPr>
                            <a:rPr lang="ru-RU" b="0" i="1" dirty="0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dPr>
                        <m:e>
                          <m:r>
                            <a:rPr lang="ru-RU" b="0" i="1" dirty="0" smtClean="0">
                              <a:latin typeface="Cambria Math"/>
                              <a:ea typeface="Cambria Math"/>
                            </a:rPr>
                            <m:t>г/</m:t>
                          </m:r>
                          <m:sSup>
                            <m:sSupPr>
                              <m:ctrlPr>
                                <a:rPr lang="ru-RU" b="0" i="1" dirty="0" smtClean="0"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pPr>
                            <m:e>
                              <m:r>
                                <a:rPr lang="ru-RU" b="0" i="1" dirty="0" smtClean="0">
                                  <a:latin typeface="Cambria Math"/>
                                  <a:ea typeface="Cambria Math"/>
                                </a:rPr>
                                <m:t>м</m:t>
                              </m:r>
                            </m:e>
                            <m:sup>
                              <m:r>
                                <a:rPr lang="ru-RU" b="0" i="1" dirty="0" smtClean="0">
                                  <a:latin typeface="Cambria Math"/>
                                  <a:ea typeface="Cambria Math"/>
                                </a:rPr>
                                <m:t>2</m:t>
                              </m:r>
                            </m:sup>
                          </m:sSup>
                        </m:e>
                      </m:d>
                    </m:oMath>
                  </m:oMathPara>
                </a14:m>
                <a:endParaRPr lang="ru-RU" b="0" i="1" dirty="0">
                  <a:latin typeface="Cambria Math"/>
                  <a:ea typeface="Cambria Math"/>
                </a:endParaRPr>
              </a:p>
              <a:p>
                <a14:m>
                  <m:oMath xmlns:m="http://schemas.openxmlformats.org/officeDocument/2006/math">
                    <m:r>
                      <a:rPr lang="ru-RU" i="1" dirty="0">
                        <a:latin typeface="Cambria Math"/>
                      </a:rPr>
                      <m:t>−</m:t>
                    </m:r>
                  </m:oMath>
                </a14:m>
                <a:r>
                  <a:rPr lang="ru-RU" b="0" dirty="0">
                    <a:latin typeface="Cambria Math"/>
                  </a:rPr>
                  <a:t> необходимо для вязания накидки</a:t>
                </a:r>
              </a:p>
              <a:p>
                <a14:m>
                  <m:oMath xmlns:m="http://schemas.openxmlformats.org/officeDocument/2006/math">
                    <m:r>
                      <a:rPr lang="ru-RU" b="0" i="1" smtClean="0">
                        <a:latin typeface="Cambria Math"/>
                      </a:rPr>
                      <m:t>4) </m:t>
                    </m:r>
                    <m:r>
                      <a:rPr lang="ru-RU" i="1">
                        <a:latin typeface="Cambria Math"/>
                      </a:rPr>
                      <m:t>800−300=500</m:t>
                    </m:r>
                    <m:d>
                      <m:dPr>
                        <m:ctrlPr>
                          <a:rPr lang="ru-RU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ru-RU" i="1">
                            <a:latin typeface="Cambria Math"/>
                          </a:rPr>
                          <m:t>г</m:t>
                        </m:r>
                      </m:e>
                    </m:d>
                    <m:r>
                      <a:rPr lang="ru-RU" i="1">
                        <a:latin typeface="Cambria Math"/>
                      </a:rPr>
                      <m:t>−осталось пряжи.</m:t>
                    </m:r>
                  </m:oMath>
                </a14:m>
                <a:r>
                  <a:rPr lang="ru-RU" dirty="0"/>
                  <a:t> </a:t>
                </a:r>
                <a:endParaRPr lang="ru-RU" i="1" dirty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i="1">
                          <a:latin typeface="Cambria Math"/>
                        </a:rPr>
                        <m:t>500</m:t>
                      </m:r>
                      <m:r>
                        <a:rPr lang="ru-RU" i="1">
                          <a:latin typeface="Cambria Math"/>
                          <a:ea typeface="Cambria Math"/>
                        </a:rPr>
                        <m:t>&lt;55</m:t>
                      </m:r>
                      <m:r>
                        <a:rPr lang="ru-RU" b="0" i="1" smtClean="0">
                          <a:latin typeface="Cambria Math"/>
                          <a:ea typeface="Cambria Math"/>
                        </a:rPr>
                        <m:t>6</m:t>
                      </m:r>
                      <m:r>
                        <a:rPr lang="ru-RU" i="1">
                          <a:latin typeface="Cambria Math"/>
                          <a:ea typeface="Cambria Math"/>
                        </a:rPr>
                        <m:t>, значит пряжи </m:t>
                      </m:r>
                      <m:r>
                        <a:rPr lang="ru-RU" b="0" i="1" smtClean="0">
                          <a:latin typeface="Cambria Math"/>
                          <a:ea typeface="Cambria Math"/>
                        </a:rPr>
                        <m:t>не </m:t>
                      </m:r>
                      <m:r>
                        <a:rPr lang="ru-RU" i="1">
                          <a:latin typeface="Cambria Math"/>
                          <a:ea typeface="Cambria Math"/>
                        </a:rPr>
                        <m:t>хватит.</m:t>
                      </m:r>
                    </m:oMath>
                  </m:oMathPara>
                </a14:m>
                <a:endParaRPr lang="ru-RU" dirty="0"/>
              </a:p>
              <a:p>
                <a:endParaRPr lang="ru-RU" dirty="0"/>
              </a:p>
            </p:txBody>
          </p:sp>
        </mc:Choice>
        <mc:Fallback xmlns="">
          <p:sp>
            <p:nvSpPr>
              <p:cNvPr id="30" name="TextBox 29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13939" y="776379"/>
                <a:ext cx="6085403" cy="2557367"/>
              </a:xfrm>
              <a:prstGeom prst="rect">
                <a:avLst/>
              </a:prstGeom>
              <a:blipFill rotWithShape="1">
                <a:blip r:embed="rId5"/>
                <a:stretch>
                  <a:fillRect l="-802" t="-1190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1" name="Прямоугольник 30"/>
          <p:cNvSpPr/>
          <p:nvPr/>
        </p:nvSpPr>
        <p:spPr>
          <a:xfrm>
            <a:off x="6049674" y="3149080"/>
            <a:ext cx="182973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/>
              <a:t>Ответ: </a:t>
            </a:r>
            <a:r>
              <a:rPr lang="ru-RU" dirty="0"/>
              <a:t>не хватит.</a:t>
            </a:r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4090931"/>
            <a:ext cx="2489874" cy="1961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7">
            <a:duotone>
              <a:prstClr val="black"/>
              <a:schemeClr val="accent1">
                <a:lumMod val="40000"/>
                <a:lumOff val="6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0591" y="2948971"/>
            <a:ext cx="2321746" cy="3667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8864227"/>
              </p:ext>
            </p:extLst>
          </p:nvPr>
        </p:nvGraphicFramePr>
        <p:xfrm>
          <a:off x="466352" y="5083991"/>
          <a:ext cx="5238685" cy="1402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242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017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942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Контекст</a:t>
                      </a:r>
                    </a:p>
                  </a:txBody>
                  <a:tcP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Математическое содержание</a:t>
                      </a:r>
                    </a:p>
                  </a:txBody>
                  <a:tcPr>
                    <a:solidFill>
                      <a:srgbClr val="D8EBF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Виды деятельности</a:t>
                      </a:r>
                    </a:p>
                  </a:txBody>
                  <a:tcPr>
                    <a:solidFill>
                      <a:srgbClr val="D8EB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Личная</a:t>
                      </a:r>
                      <a:r>
                        <a:rPr lang="ru-RU" sz="1600" baseline="0" dirty="0"/>
                        <a:t> жизнь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Количество</a:t>
                      </a:r>
                    </a:p>
                    <a:p>
                      <a:r>
                        <a:rPr lang="ru-RU" sz="1600" dirty="0"/>
                        <a:t>Пространство и фор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Формулировать</a:t>
                      </a:r>
                    </a:p>
                    <a:p>
                      <a:r>
                        <a:rPr lang="ru-RU" sz="1600" dirty="0"/>
                        <a:t>Применять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510464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093"/>
          <a:stretch/>
        </p:blipFill>
        <p:spPr bwMode="auto">
          <a:xfrm>
            <a:off x="6248225" y="383452"/>
            <a:ext cx="5621458" cy="1664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29443"/>
            <a:ext cx="21812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90" y="896605"/>
            <a:ext cx="7143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1182355"/>
            <a:ext cx="40481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843" y="183397"/>
            <a:ext cx="1419225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1654654"/>
            <a:ext cx="5502391" cy="1735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6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1071"/>
          <a:stretch/>
        </p:blipFill>
        <p:spPr bwMode="auto">
          <a:xfrm>
            <a:off x="122032" y="3390181"/>
            <a:ext cx="5621458" cy="2457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67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2173" y="2047670"/>
            <a:ext cx="5433562" cy="1796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8068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1428" y="3975969"/>
            <a:ext cx="2816972" cy="10267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9587812" y="4176666"/>
            <a:ext cx="367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1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9587812" y="4541098"/>
            <a:ext cx="3670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3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6342173" y="5125771"/>
            <a:ext cx="5448558" cy="1107996"/>
          </a:xfrm>
          <a:prstGeom prst="rect">
            <a:avLst/>
          </a:prstGeom>
          <a:solidFill>
            <a:srgbClr val="D1E2F3"/>
          </a:solidFill>
        </p:spPr>
        <p:txBody>
          <a:bodyPr wrap="square">
            <a:spAutoFit/>
          </a:bodyPr>
          <a:lstStyle/>
          <a:p>
            <a:r>
              <a:rPr lang="ru-RU" sz="1600" b="1" dirty="0"/>
              <a:t>2 балла </a:t>
            </a:r>
            <a:r>
              <a:rPr lang="ru-RU" sz="1600" dirty="0"/>
              <a:t>— верно даны</a:t>
            </a:r>
            <a:r>
              <a:rPr lang="en-US" sz="1600" dirty="0"/>
              <a:t> </a:t>
            </a:r>
            <a:r>
              <a:rPr lang="ru-RU" sz="1600" dirty="0"/>
              <a:t>оба ответа;</a:t>
            </a:r>
          </a:p>
          <a:p>
            <a:r>
              <a:rPr lang="ru-RU" sz="1600" b="1" dirty="0"/>
              <a:t>1 балл </a:t>
            </a:r>
            <a:r>
              <a:rPr lang="ru-RU" sz="1600" dirty="0"/>
              <a:t>— верно дан</a:t>
            </a:r>
            <a:r>
              <a:rPr lang="en-US" sz="1600" dirty="0"/>
              <a:t> </a:t>
            </a:r>
            <a:r>
              <a:rPr lang="ru-RU" sz="1600" dirty="0"/>
              <a:t>один из ответов, второй ответ дан не верно</a:t>
            </a:r>
            <a:r>
              <a:rPr lang="en-US" sz="1600" dirty="0"/>
              <a:t> </a:t>
            </a:r>
            <a:r>
              <a:rPr lang="ru-RU" sz="1600" dirty="0"/>
              <a:t>ИЛИ ответ отсутствует;</a:t>
            </a:r>
          </a:p>
          <a:p>
            <a:r>
              <a:rPr lang="ru-RU" sz="1600" b="1" dirty="0"/>
              <a:t>0 баллов </a:t>
            </a:r>
            <a:r>
              <a:rPr lang="ru-RU" sz="1600" dirty="0"/>
              <a:t>— дан другой</a:t>
            </a:r>
            <a:r>
              <a:rPr lang="en-US" sz="1600" dirty="0"/>
              <a:t> </a:t>
            </a:r>
            <a:r>
              <a:rPr lang="ru-RU" sz="1600" dirty="0"/>
              <a:t>ответ ИЛИ ответ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3979360964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1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29443"/>
            <a:ext cx="21812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90" y="896605"/>
            <a:ext cx="7143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1182355"/>
            <a:ext cx="40481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5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843" y="183397"/>
            <a:ext cx="1419225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6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1654654"/>
            <a:ext cx="5502391" cy="1735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6" y="3447596"/>
            <a:ext cx="5797400" cy="2907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1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236" y="507376"/>
            <a:ext cx="1152525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2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1320" y="1215323"/>
            <a:ext cx="27908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320689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5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89" r="3926"/>
          <a:stretch/>
        </p:blipFill>
        <p:spPr bwMode="auto">
          <a:xfrm>
            <a:off x="5756875" y="1790700"/>
            <a:ext cx="1654841" cy="163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29443"/>
            <a:ext cx="21812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90" y="896605"/>
            <a:ext cx="7143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4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18" y="1182355"/>
            <a:ext cx="4048125" cy="39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5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843" y="183397"/>
            <a:ext cx="1419225" cy="1304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032" y="1654654"/>
            <a:ext cx="5502391" cy="1735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6" y="3447596"/>
            <a:ext cx="5797400" cy="2907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1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225092"/>
            <a:ext cx="1152525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2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7909" y="245339"/>
            <a:ext cx="27908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7417909" y="474445"/>
                <a:ext cx="4771040" cy="511659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300" b="1" dirty="0"/>
                  <a:t>Возможное решение и его варианты</a:t>
                </a:r>
              </a:p>
              <a:p>
                <a:r>
                  <a:rPr lang="ru-RU" sz="1300" b="1" dirty="0"/>
                  <a:t>1. </a:t>
                </a:r>
                <a:r>
                  <a:rPr lang="ru-RU" sz="1300" dirty="0"/>
                  <a:t>Сначала найдём длину стороны блина, сложенного треугольником.</a:t>
                </a:r>
              </a:p>
              <a:p>
                <a:r>
                  <a:rPr lang="ru-RU" sz="1300" dirty="0"/>
                  <a:t>Приведём 3 варианта.</a:t>
                </a:r>
              </a:p>
              <a:p>
                <a:r>
                  <a:rPr lang="ru-RU" sz="1300" b="1" i="1" dirty="0"/>
                  <a:t>Вариант 1:</a:t>
                </a:r>
              </a:p>
              <a:p>
                <a:r>
                  <a:rPr lang="ru-RU" sz="1300" dirty="0"/>
                  <a:t>Треугольник </a:t>
                </a:r>
                <a:r>
                  <a:rPr lang="en-US" sz="1300" i="1" dirty="0"/>
                  <a:t>ACD </a:t>
                </a:r>
                <a:r>
                  <a:rPr lang="en-US" sz="1300" dirty="0"/>
                  <a:t>— </a:t>
                </a:r>
                <a:r>
                  <a:rPr lang="ru-RU" sz="1300" dirty="0"/>
                  <a:t>равносторонний по построению, вписан в окружность радиусом 12 см.</a:t>
                </a:r>
              </a:p>
              <a:p>
                <a:r>
                  <a:rPr lang="ru-RU" sz="1300" i="1" dirty="0"/>
                  <a:t>KM</a:t>
                </a:r>
                <a:r>
                  <a:rPr lang="ru-RU" sz="1300" dirty="0"/>
                  <a:t>, </a:t>
                </a:r>
                <a:r>
                  <a:rPr lang="ru-RU" sz="1300" i="1" dirty="0"/>
                  <a:t>KB</a:t>
                </a:r>
                <a:r>
                  <a:rPr lang="ru-RU" sz="1300" dirty="0"/>
                  <a:t>, </a:t>
                </a:r>
                <a:r>
                  <a:rPr lang="ru-RU" sz="1300" i="1" dirty="0"/>
                  <a:t>BM </a:t>
                </a:r>
                <a:r>
                  <a:rPr lang="ru-RU" sz="1300" dirty="0"/>
                  <a:t>— средние линии треугольника </a:t>
                </a:r>
                <a:r>
                  <a:rPr lang="ru-RU" sz="1300" i="1" dirty="0"/>
                  <a:t>ACD </a:t>
                </a:r>
                <a:r>
                  <a:rPr lang="ru-RU" sz="1300" dirty="0"/>
                  <a:t>(по построению).</a:t>
                </a:r>
                <a:endParaRPr lang="en-US" sz="1300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300" i="1">
                          <a:latin typeface="Cambria Math"/>
                        </a:rPr>
                        <m:t>𝐴𝐶</m:t>
                      </m:r>
                      <m:r>
                        <a:rPr lang="en-US" sz="1300" i="1">
                          <a:latin typeface="Cambria Math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sz="130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1300" b="0" i="1" smtClean="0">
                              <a:latin typeface="Cambria Math"/>
                            </a:rPr>
                            <m:t>3</m:t>
                          </m:r>
                        </m:e>
                      </m:rad>
                      <m:r>
                        <a:rPr lang="en-US" sz="1300" b="0" i="1" smtClean="0">
                          <a:latin typeface="Cambria Math"/>
                        </a:rPr>
                        <m:t>𝑅</m:t>
                      </m:r>
                      <m:r>
                        <a:rPr lang="en-US" sz="1300" b="0" i="1" smtClean="0">
                          <a:latin typeface="Cambria Math"/>
                        </a:rPr>
                        <m:t>=12</m:t>
                      </m:r>
                      <m:rad>
                        <m:radPr>
                          <m:degHide m:val="on"/>
                          <m:ctrlPr>
                            <a:rPr lang="en-US" sz="1300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1300" i="1">
                              <a:latin typeface="Cambria Math"/>
                            </a:rPr>
                            <m:t>3</m:t>
                          </m:r>
                        </m:e>
                      </m:rad>
                    </m:oMath>
                  </m:oMathPara>
                </a14:m>
                <a:endParaRPr lang="ru-RU" sz="1300" dirty="0"/>
              </a:p>
              <a:p>
                <a:r>
                  <a:rPr lang="ru-RU" sz="1300" dirty="0"/>
                  <a:t>Треугольник </a:t>
                </a:r>
                <a:r>
                  <a:rPr lang="en-US" sz="1300" i="1" dirty="0"/>
                  <a:t>KMB </a:t>
                </a:r>
                <a:r>
                  <a:rPr lang="en-US" sz="1300" dirty="0"/>
                  <a:t>— </a:t>
                </a:r>
                <a:r>
                  <a:rPr lang="ru-RU" sz="1300" dirty="0"/>
                  <a:t>равносторонний, </a:t>
                </a:r>
                <a14:m>
                  <m:oMath xmlns:m="http://schemas.openxmlformats.org/officeDocument/2006/math">
                    <m:r>
                      <a:rPr lang="ru-RU" sz="1300" i="1" dirty="0" smtClean="0">
                        <a:latin typeface="Cambria Math"/>
                      </a:rPr>
                      <m:t>МВ =</m:t>
                    </m:r>
                    <m:f>
                      <m:fPr>
                        <m:ctrlPr>
                          <a:rPr lang="ru-RU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1300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ru-RU" sz="1300" b="0" i="1" smtClean="0">
                            <a:latin typeface="Cambria Math"/>
                          </a:rPr>
                          <m:t>2</m:t>
                        </m:r>
                      </m:den>
                    </m:f>
                    <m:r>
                      <a:rPr lang="en-US" sz="1300" b="0" i="1" smtClean="0">
                        <a:latin typeface="Cambria Math"/>
                      </a:rPr>
                      <m:t>𝐴𝐶</m:t>
                    </m:r>
                    <m:r>
                      <a:rPr lang="en-US" sz="1300" b="0" i="1" smtClean="0">
                        <a:latin typeface="Cambria Math"/>
                      </a:rPr>
                      <m:t>=6</m:t>
                    </m:r>
                    <m:rad>
                      <m:radPr>
                        <m:degHide m:val="on"/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sz="1300" b="0" i="1" smtClean="0">
                            <a:latin typeface="Cambria Math"/>
                          </a:rPr>
                          <m:t>3</m:t>
                        </m:r>
                      </m:e>
                    </m:rad>
                    <m:r>
                      <a:rPr lang="en-US" sz="1300" b="0" i="1" smtClean="0">
                        <a:latin typeface="Cambria Math"/>
                      </a:rPr>
                      <m:t>;</m:t>
                    </m:r>
                  </m:oMath>
                </a14:m>
                <a:endParaRPr lang="en-US" sz="1300" dirty="0"/>
              </a:p>
              <a:p>
                <a:r>
                  <a:rPr lang="ru-RU" sz="1300" b="1" i="1" dirty="0"/>
                  <a:t>Вариант </a:t>
                </a:r>
                <a:r>
                  <a:rPr lang="en-US" sz="1300" b="1" i="1" dirty="0"/>
                  <a:t>2</a:t>
                </a:r>
                <a:r>
                  <a:rPr lang="ru-RU" sz="1300" b="1" i="1" dirty="0"/>
                  <a:t>:</a:t>
                </a:r>
                <a:endParaRPr lang="en-US" sz="1300" b="1" i="1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1300" i="1" smtClean="0">
                          <a:latin typeface="Cambria Math"/>
                          <a:ea typeface="Cambria Math"/>
                        </a:rPr>
                        <m:t>∆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𝐾𝑀𝐵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~∆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𝐴𝐶𝐷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, 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  <a:ea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300" b="0" i="1" smtClean="0">
                              <a:latin typeface="Cambria Math"/>
                              <a:ea typeface="Cambria Math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sz="1300" b="0" i="1" dirty="0">
                  <a:ea typeface="Cambria Math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300" b="0" i="1" smtClean="0">
                            <a:latin typeface="Cambria Math"/>
                          </a:rPr>
                          <m:t>𝑆</m:t>
                        </m:r>
                      </m:e>
                      <m:sub>
                        <m:r>
                          <a:rPr lang="en-US" sz="1300" b="0" i="1" smtClean="0">
                            <a:latin typeface="Cambria Math"/>
                          </a:rPr>
                          <m:t>𝐾𝑀𝐵</m:t>
                        </m:r>
                      </m:sub>
                    </m:sSub>
                    <m:r>
                      <a:rPr lang="en-US" sz="1300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ad>
                          <m:radPr>
                            <m:degHide m:val="on"/>
                            <m:ctrlPr>
                              <a:rPr lang="en-US" sz="1300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300" b="0" i="1" smtClean="0">
                                <a:latin typeface="Cambria Math"/>
                              </a:rPr>
                              <m:t>3</m:t>
                            </m:r>
                          </m:e>
                        </m:rad>
                      </m:num>
                      <m:den>
                        <m:r>
                          <a:rPr lang="en-US" sz="1300" b="0" i="1" smtClean="0">
                            <a:latin typeface="Cambria Math"/>
                          </a:rPr>
                          <m:t>4</m:t>
                        </m:r>
                      </m:den>
                    </m:f>
                    <m:sSup>
                      <m:sSup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</a:rPr>
                          <m:t>𝑎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300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en-US" sz="1300" b="0" i="1" smtClean="0">
                            <a:latin typeface="Cambria Math"/>
                          </a:rPr>
                          <m:t>4</m:t>
                        </m:r>
                      </m:den>
                    </m:f>
                    <m:r>
                      <a:rPr lang="en-US" sz="1300" b="0" i="1" smtClean="0">
                        <a:latin typeface="Cambria Math"/>
                        <a:ea typeface="Cambria Math"/>
                      </a:rPr>
                      <m:t>∙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fPr>
                      <m:num>
                        <m:r>
                          <a:rPr lang="en-US" sz="1300" b="0" i="1" smtClean="0">
                            <a:latin typeface="Cambria Math"/>
                            <a:ea typeface="Cambria Math"/>
                          </a:rPr>
                          <m:t>3</m:t>
                        </m:r>
                        <m:rad>
                          <m:radPr>
                            <m:degHide m:val="on"/>
                            <m:ctrlPr>
                              <a:rPr lang="en-US" sz="1300" b="0" i="1" smtClean="0">
                                <a:latin typeface="Cambria Math" panose="02040503050406030204" pitchFamily="18" charset="0"/>
                                <a:ea typeface="Cambria Math"/>
                              </a:rPr>
                            </m:ctrlPr>
                          </m:radPr>
                          <m:deg/>
                          <m:e>
                            <m:r>
                              <a:rPr lang="en-US" sz="1300" b="0" i="1" smtClean="0">
                                <a:latin typeface="Cambria Math"/>
                                <a:ea typeface="Cambria Math"/>
                              </a:rPr>
                              <m:t>3</m:t>
                            </m:r>
                          </m:e>
                        </m:rad>
                      </m:num>
                      <m:den>
                        <m:r>
                          <a:rPr lang="en-US" sz="1300" b="0" i="1" smtClean="0">
                            <a:latin typeface="Cambria Math"/>
                            <a:ea typeface="Cambria Math"/>
                          </a:rPr>
                          <m:t>4</m:t>
                        </m:r>
                      </m:den>
                    </m:f>
                    <m:sSup>
                      <m:sSupPr>
                        <m:ctrlPr>
                          <a:rPr lang="en-US" sz="13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  <a:ea typeface="Cambria Math"/>
                          </a:rPr>
                          <m:t>𝑅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  <a:ea typeface="Cambria Math"/>
                      </a:rPr>
                      <m:t>;</m:t>
                    </m:r>
                  </m:oMath>
                </a14:m>
                <a:r>
                  <a:rPr lang="en-US" sz="1300" b="0" dirty="0"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en-US" sz="1300" b="0" i="0" smtClean="0">
                        <a:latin typeface="Cambria Math"/>
                      </a:rPr>
                      <m:t>    </m:t>
                    </m:r>
                    <m:r>
                      <a:rPr lang="en-US" sz="1300" b="0" i="1" smtClean="0">
                        <a:latin typeface="Cambria Math"/>
                      </a:rPr>
                      <m:t>𝑎</m:t>
                    </m:r>
                    <m:r>
                      <a:rPr lang="en-US" sz="1300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ad>
                          <m:radPr>
                            <m:degHide m:val="on"/>
                            <m:ctrlPr>
                              <a:rPr lang="en-US" sz="1300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300" b="0" i="1" smtClean="0">
                                <a:latin typeface="Cambria Math"/>
                              </a:rPr>
                              <m:t>3</m:t>
                            </m:r>
                          </m:e>
                        </m:rad>
                      </m:num>
                      <m:den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den>
                    </m:f>
                    <m:r>
                      <a:rPr lang="en-US" sz="1300" b="0" i="1" smtClean="0">
                        <a:latin typeface="Cambria Math"/>
                      </a:rPr>
                      <m:t>𝑅</m:t>
                    </m:r>
                    <m:r>
                      <a:rPr lang="en-US" sz="1300" b="0" i="1" smtClean="0">
                        <a:latin typeface="Cambria Math"/>
                      </a:rPr>
                      <m:t>;</m:t>
                    </m:r>
                    <m:r>
                      <a:rPr lang="en-US" sz="1300" b="0" i="1" smtClean="0">
                        <a:latin typeface="Cambria Math"/>
                      </a:rPr>
                      <m:t>𝑎</m:t>
                    </m:r>
                    <m:r>
                      <a:rPr lang="en-US" sz="1300" b="0" i="1" smtClean="0">
                        <a:latin typeface="Cambria Math"/>
                      </a:rPr>
                      <m:t>=6</m:t>
                    </m:r>
                    <m:rad>
                      <m:radPr>
                        <m:degHide m:val="on"/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sz="1300" b="0" i="1" smtClean="0">
                            <a:latin typeface="Cambria Math"/>
                          </a:rPr>
                          <m:t>3</m:t>
                        </m:r>
                      </m:e>
                    </m:rad>
                    <m:r>
                      <a:rPr lang="en-US" sz="1300" b="0" i="1" smtClean="0">
                        <a:latin typeface="Cambria Math"/>
                        <a:ea typeface="Cambria Math"/>
                      </a:rPr>
                      <m:t>≈10,38.</m:t>
                    </m:r>
                  </m:oMath>
                </a14:m>
                <a:endParaRPr lang="en-US" sz="1300" dirty="0"/>
              </a:p>
              <a:p>
                <a:r>
                  <a:rPr lang="ru-RU" sz="1300" b="1" i="1" dirty="0"/>
                  <a:t>Вариант </a:t>
                </a:r>
                <a:r>
                  <a:rPr lang="en-US" sz="1300" b="1" i="1" dirty="0"/>
                  <a:t>3</a:t>
                </a:r>
                <a:r>
                  <a:rPr lang="ru-RU" sz="1300" b="1" i="1" dirty="0"/>
                  <a:t>:</a:t>
                </a:r>
                <a:endParaRPr lang="en-US" sz="1300" b="1" i="1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300" i="1" smtClean="0">
                          <a:latin typeface="Cambria Math"/>
                          <a:ea typeface="Cambria Math"/>
                        </a:rPr>
                        <m:t>∆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𝐴𝐶𝐷</m:t>
                      </m:r>
                      <m:r>
                        <a:rPr lang="ru-RU" sz="1300" b="0" i="1" smtClean="0">
                          <a:latin typeface="Cambria Math"/>
                          <a:ea typeface="Cambria Math"/>
                        </a:rPr>
                        <m:t> −равносторонний: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𝐶𝐵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  <a:ea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300" b="0" i="1" smtClean="0">
                              <a:latin typeface="Cambria Math"/>
                              <a:ea typeface="Cambria Math"/>
                            </a:rPr>
                            <m:t>2</m:t>
                          </m:r>
                        </m:den>
                      </m:f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𝐶𝐷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en-US" sz="1300" i="1">
                              <a:latin typeface="Cambria Math"/>
                              <a:ea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300" i="1">
                              <a:latin typeface="Cambria Math"/>
                              <a:ea typeface="Cambria Math"/>
                            </a:rPr>
                            <m:t>2</m:t>
                          </m:r>
                        </m:den>
                      </m:f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𝐴𝐶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;</m:t>
                      </m:r>
                    </m:oMath>
                  </m:oMathPara>
                </a14:m>
                <a:endParaRPr lang="en-US" sz="1300" b="0" dirty="0">
                  <a:ea typeface="Cambria Math"/>
                </a:endParaRPr>
              </a:p>
              <a:p>
                <a:r>
                  <a:rPr lang="en-US" sz="1300" dirty="0"/>
                  <a:t>AB – </a:t>
                </a:r>
                <a:r>
                  <a:rPr lang="ru-RU" sz="1300" dirty="0"/>
                  <a:t>медиана, </a:t>
                </a:r>
                <a:r>
                  <a:rPr lang="en-US" sz="1300" dirty="0"/>
                  <a:t>O</a:t>
                </a:r>
                <a:r>
                  <a:rPr lang="ru-RU" sz="1300" dirty="0"/>
                  <a:t> – точка пересечения медиан, </a:t>
                </a:r>
                <a:endParaRPr lang="ru-RU" sz="1300" i="1" dirty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300" i="1" dirty="0" smtClean="0">
                          <a:latin typeface="Cambria Math"/>
                        </a:rPr>
                        <m:t>𝐴𝑂</m:t>
                      </m:r>
                      <m:r>
                        <a:rPr lang="en-US" sz="1300" b="0" i="1" dirty="0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300" b="0" i="1" dirty="0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>
                            <a:rPr lang="en-US" sz="1300" b="0" i="1" dirty="0" smtClean="0">
                              <a:latin typeface="Cambria Math"/>
                            </a:rPr>
                            <m:t>3</m:t>
                          </m:r>
                        </m:den>
                      </m:f>
                      <m:r>
                        <a:rPr lang="en-US" sz="1300" b="0" i="1" dirty="0" smtClean="0">
                          <a:latin typeface="Cambria Math"/>
                        </a:rPr>
                        <m:t>𝐴𝐵</m:t>
                      </m:r>
                      <m:r>
                        <a:rPr lang="en-US" sz="1300" b="0" i="1" dirty="0" smtClean="0">
                          <a:latin typeface="Cambria Math"/>
                        </a:rPr>
                        <m:t>;так как </m:t>
                      </m:r>
                      <m:r>
                        <a:rPr lang="en-US" sz="1300" b="0" i="1" dirty="0" smtClean="0">
                          <a:latin typeface="Cambria Math"/>
                        </a:rPr>
                        <m:t>𝐴𝑂</m:t>
                      </m:r>
                      <m:r>
                        <a:rPr lang="en-US" sz="1300" b="0" i="1" dirty="0" smtClean="0">
                          <a:latin typeface="Cambria Math"/>
                        </a:rPr>
                        <m:t>=12 см, то </m:t>
                      </m:r>
                      <m:r>
                        <a:rPr lang="en-US" sz="1300" b="0" i="1" dirty="0" smtClean="0">
                          <a:latin typeface="Cambria Math"/>
                        </a:rPr>
                        <m:t>𝐴𝐵</m:t>
                      </m:r>
                      <m:r>
                        <a:rPr lang="en-US" sz="1300" b="0" i="1" dirty="0" smtClean="0">
                          <a:latin typeface="Cambria Math"/>
                        </a:rPr>
                        <m:t>=18 см.</m:t>
                      </m:r>
                    </m:oMath>
                  </m:oMathPara>
                </a14:m>
                <a:endParaRPr lang="ru-RU" sz="1300" dirty="0"/>
              </a:p>
              <a:p>
                <a:r>
                  <a:rPr lang="ru-RU" sz="1300" dirty="0"/>
                  <a:t>По теореме Пифагора:</a:t>
                </a:r>
                <a:r>
                  <a:rPr lang="en-US" sz="13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ru-RU" sz="13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</a:rPr>
                          <m:t>𝐴𝐶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300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en-US" sz="1300" b="0" i="1" smtClean="0">
                            <a:latin typeface="Cambria Math"/>
                          </a:rPr>
                          <m:t>4</m:t>
                        </m:r>
                      </m:den>
                    </m:f>
                    <m:sSup>
                      <m:sSup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</a:rPr>
                          <m:t>𝐴𝐶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</a:rPr>
                      <m:t>+</m:t>
                    </m:r>
                    <m:sSup>
                      <m:sSup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</a:rPr>
                          <m:t>𝐴𝐵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</a:rPr>
                      <m:t>;</m:t>
                    </m:r>
                  </m:oMath>
                </a14:m>
                <a:endParaRPr lang="en-US" sz="13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sz="13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</a:rPr>
                            <m:t>3</m:t>
                          </m:r>
                        </m:num>
                        <m:den>
                          <m:r>
                            <a:rPr lang="en-US" sz="13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  <m:sSup>
                        <m:sSupPr>
                          <m:ctrlPr>
                            <a:rPr lang="ru-RU" sz="13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300" b="0" i="1" smtClean="0">
                              <a:latin typeface="Cambria Math"/>
                            </a:rPr>
                            <m:t>𝐴𝐶</m:t>
                          </m:r>
                        </m:e>
                        <m:sup>
                          <m:r>
                            <a:rPr lang="en-US" sz="13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sz="1300" b="0" i="1" smtClean="0">
                          <a:latin typeface="Cambria Math"/>
                        </a:rPr>
                        <m:t>=</m:t>
                      </m:r>
                      <m:sSup>
                        <m:sSupPr>
                          <m:ctrlPr>
                            <a:rPr lang="en-US" sz="13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300" b="0" i="1" smtClean="0">
                              <a:latin typeface="Cambria Math"/>
                            </a:rPr>
                            <m:t>𝐴𝐵</m:t>
                          </m:r>
                        </m:e>
                        <m:sup>
                          <m:r>
                            <a:rPr lang="en-US" sz="13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sz="1300" b="0" i="1" smtClean="0">
                          <a:latin typeface="Cambria Math"/>
                        </a:rPr>
                        <m:t>;</m:t>
                      </m:r>
                      <m:r>
                        <a:rPr lang="en-US" sz="1300" b="0" i="1" smtClean="0">
                          <a:latin typeface="Cambria Math"/>
                        </a:rPr>
                        <m:t>𝐴𝐶</m:t>
                      </m:r>
                      <m:r>
                        <a:rPr lang="en-US" sz="13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3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1300" b="0" i="1" smtClean="0">
                                  <a:latin typeface="Cambria Math"/>
                                </a:rPr>
                                <m:t>3</m:t>
                              </m:r>
                            </m:e>
                          </m:rad>
                        </m:den>
                      </m:f>
                      <m:r>
                        <a:rPr lang="en-US" sz="1300" b="0" i="1" smtClean="0">
                          <a:latin typeface="Cambria Math"/>
                        </a:rPr>
                        <m:t>𝐴𝐵</m:t>
                      </m:r>
                      <m:r>
                        <a:rPr lang="en-US" sz="13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</a:rPr>
                            <m:t>36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3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1300" b="0" i="1" smtClean="0">
                                  <a:latin typeface="Cambria Math"/>
                                </a:rPr>
                                <m:t>3</m:t>
                              </m:r>
                            </m:e>
                          </m:rad>
                        </m:den>
                      </m:f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≈</m:t>
                      </m:r>
                      <m:r>
                        <a:rPr lang="ru-RU" sz="1300" b="0" i="1" smtClean="0">
                          <a:latin typeface="Cambria Math"/>
                          <a:ea typeface="Cambria Math"/>
                        </a:rPr>
                        <m:t>20,8;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𝐶𝐵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≈10,4</m:t>
                      </m:r>
                    </m:oMath>
                  </m:oMathPara>
                </a14:m>
                <a:endParaRPr lang="ru-RU" sz="1300" dirty="0"/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17909" y="474445"/>
                <a:ext cx="4771040" cy="5116593"/>
              </a:xfrm>
              <a:prstGeom prst="rect">
                <a:avLst/>
              </a:prstGeom>
              <a:blipFill rotWithShape="1">
                <a:blip r:embed="rId14"/>
                <a:stretch>
                  <a:fillRect l="-256" t="-11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Прямоугольник 3"/>
          <p:cNvSpPr/>
          <p:nvPr/>
        </p:nvSpPr>
        <p:spPr>
          <a:xfrm>
            <a:off x="6092949" y="5521675"/>
            <a:ext cx="5964896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/>
              <a:t>2. </a:t>
            </a:r>
            <a:r>
              <a:rPr lang="ru-RU" sz="1300" dirty="0"/>
              <a:t>Равносторонний треугольник</a:t>
            </a:r>
            <a:r>
              <a:rPr lang="en-US" sz="1300" dirty="0"/>
              <a:t> </a:t>
            </a:r>
            <a:r>
              <a:rPr lang="ru-RU" sz="1300" dirty="0"/>
              <a:t>можно расположить по стороне квадрата. Можно ли расположить заданный равносторонний треугольник внутри квадрата с меньшей длиной стороны? При расположении выше две вершины</a:t>
            </a:r>
            <a:r>
              <a:rPr lang="en-US" sz="1300" dirty="0"/>
              <a:t> </a:t>
            </a:r>
            <a:r>
              <a:rPr lang="ru-RU" sz="1300" dirty="0"/>
              <a:t>треугольника лежат на границе</a:t>
            </a:r>
            <a:r>
              <a:rPr lang="en-US" sz="1300" dirty="0"/>
              <a:t> </a:t>
            </a:r>
            <a:r>
              <a:rPr lang="ru-RU" sz="1300" dirty="0"/>
              <a:t>квадрата, а третья — внутри.</a:t>
            </a:r>
            <a:r>
              <a:rPr lang="en-US" sz="1300" dirty="0"/>
              <a:t> </a:t>
            </a:r>
            <a:r>
              <a:rPr lang="ru-RU" sz="1300" dirty="0"/>
              <a:t>Расположим все три вершины</a:t>
            </a:r>
            <a:r>
              <a:rPr lang="en-US" sz="1300" dirty="0"/>
              <a:t> </a:t>
            </a:r>
            <a:r>
              <a:rPr lang="ru-RU" sz="1300" dirty="0"/>
              <a:t>на границе квадрата.</a:t>
            </a:r>
          </a:p>
        </p:txBody>
      </p:sp>
      <p:pic>
        <p:nvPicPr>
          <p:cNvPr id="108550" name="Picture 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957" y="4119916"/>
            <a:ext cx="1302507" cy="1310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6204733" y="83756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476364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5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89" r="3926"/>
          <a:stretch/>
        </p:blipFill>
        <p:spPr bwMode="auto">
          <a:xfrm>
            <a:off x="5756875" y="1790700"/>
            <a:ext cx="1654841" cy="163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29443"/>
            <a:ext cx="21812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0390" y="896605"/>
            <a:ext cx="714375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816" y="3447596"/>
            <a:ext cx="5797400" cy="2907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1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2949" y="225092"/>
            <a:ext cx="1152525" cy="162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2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7909" y="245339"/>
            <a:ext cx="27908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Прямоугольник 2"/>
              <p:cNvSpPr/>
              <p:nvPr/>
            </p:nvSpPr>
            <p:spPr>
              <a:xfrm>
                <a:off x="7417909" y="474445"/>
                <a:ext cx="4771040" cy="511659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300" b="1" dirty="0"/>
                  <a:t>Возможное решение и его варианты</a:t>
                </a:r>
              </a:p>
              <a:p>
                <a:r>
                  <a:rPr lang="ru-RU" sz="1300" b="1" dirty="0"/>
                  <a:t>1. </a:t>
                </a:r>
                <a:r>
                  <a:rPr lang="ru-RU" sz="1300" dirty="0"/>
                  <a:t>Сначала найдём длину стороны блина, сложенного треугольником.</a:t>
                </a:r>
              </a:p>
              <a:p>
                <a:r>
                  <a:rPr lang="ru-RU" sz="1300" dirty="0"/>
                  <a:t>Приведём 3 варианта.</a:t>
                </a:r>
              </a:p>
              <a:p>
                <a:r>
                  <a:rPr lang="ru-RU" sz="1300" b="1" i="1" dirty="0"/>
                  <a:t>Вариант 1:</a:t>
                </a:r>
              </a:p>
              <a:p>
                <a:r>
                  <a:rPr lang="ru-RU" sz="1300" dirty="0"/>
                  <a:t>Треугольник </a:t>
                </a:r>
                <a:r>
                  <a:rPr lang="en-US" sz="1300" i="1" dirty="0"/>
                  <a:t>ACD </a:t>
                </a:r>
                <a:r>
                  <a:rPr lang="en-US" sz="1300" dirty="0"/>
                  <a:t>— </a:t>
                </a:r>
                <a:r>
                  <a:rPr lang="ru-RU" sz="1300" dirty="0"/>
                  <a:t>равносторонний по построению, вписан в окружность радиусом 12 см.</a:t>
                </a:r>
              </a:p>
              <a:p>
                <a:r>
                  <a:rPr lang="ru-RU" sz="1300" i="1" dirty="0"/>
                  <a:t>KM</a:t>
                </a:r>
                <a:r>
                  <a:rPr lang="ru-RU" sz="1300" dirty="0"/>
                  <a:t>, </a:t>
                </a:r>
                <a:r>
                  <a:rPr lang="ru-RU" sz="1300" i="1" dirty="0"/>
                  <a:t>KB</a:t>
                </a:r>
                <a:r>
                  <a:rPr lang="ru-RU" sz="1300" dirty="0"/>
                  <a:t>, </a:t>
                </a:r>
                <a:r>
                  <a:rPr lang="ru-RU" sz="1300" i="1" dirty="0"/>
                  <a:t>BM </a:t>
                </a:r>
                <a:r>
                  <a:rPr lang="ru-RU" sz="1300" dirty="0"/>
                  <a:t>— средние линии треугольника </a:t>
                </a:r>
                <a:r>
                  <a:rPr lang="ru-RU" sz="1300" i="1" dirty="0"/>
                  <a:t>ACD </a:t>
                </a:r>
                <a:r>
                  <a:rPr lang="ru-RU" sz="1300" dirty="0"/>
                  <a:t>(по построению).</a:t>
                </a:r>
                <a:endParaRPr lang="en-US" sz="1300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300" i="1">
                          <a:latin typeface="Cambria Math"/>
                        </a:rPr>
                        <m:t>𝐴𝐶</m:t>
                      </m:r>
                      <m:r>
                        <a:rPr lang="en-US" sz="1300" i="1">
                          <a:latin typeface="Cambria Math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sz="1300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1300" b="0" i="1" smtClean="0">
                              <a:latin typeface="Cambria Math"/>
                            </a:rPr>
                            <m:t>3</m:t>
                          </m:r>
                        </m:e>
                      </m:rad>
                      <m:r>
                        <a:rPr lang="en-US" sz="1300" b="0" i="1" smtClean="0">
                          <a:latin typeface="Cambria Math"/>
                        </a:rPr>
                        <m:t>𝑅</m:t>
                      </m:r>
                      <m:r>
                        <a:rPr lang="en-US" sz="1300" b="0" i="1" smtClean="0">
                          <a:latin typeface="Cambria Math"/>
                        </a:rPr>
                        <m:t>=12</m:t>
                      </m:r>
                      <m:rad>
                        <m:radPr>
                          <m:degHide m:val="on"/>
                          <m:ctrlPr>
                            <a:rPr lang="en-US" sz="1300" i="1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r>
                            <a:rPr lang="en-US" sz="1300" i="1">
                              <a:latin typeface="Cambria Math"/>
                            </a:rPr>
                            <m:t>3</m:t>
                          </m:r>
                        </m:e>
                      </m:rad>
                    </m:oMath>
                  </m:oMathPara>
                </a14:m>
                <a:endParaRPr lang="ru-RU" sz="1300" dirty="0"/>
              </a:p>
              <a:p>
                <a:r>
                  <a:rPr lang="ru-RU" sz="1300" dirty="0"/>
                  <a:t>Треугольник </a:t>
                </a:r>
                <a:r>
                  <a:rPr lang="en-US" sz="1300" i="1" dirty="0"/>
                  <a:t>KMB </a:t>
                </a:r>
                <a:r>
                  <a:rPr lang="en-US" sz="1300" dirty="0"/>
                  <a:t>— </a:t>
                </a:r>
                <a:r>
                  <a:rPr lang="ru-RU" sz="1300" dirty="0"/>
                  <a:t>равносторонний, </a:t>
                </a:r>
                <a14:m>
                  <m:oMath xmlns:m="http://schemas.openxmlformats.org/officeDocument/2006/math">
                    <m:r>
                      <a:rPr lang="ru-RU" sz="1300" i="1" dirty="0" smtClean="0">
                        <a:latin typeface="Cambria Math"/>
                      </a:rPr>
                      <m:t>МВ =</m:t>
                    </m:r>
                    <m:f>
                      <m:fPr>
                        <m:ctrlPr>
                          <a:rPr lang="ru-RU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1300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ru-RU" sz="1300" b="0" i="1" smtClean="0">
                            <a:latin typeface="Cambria Math"/>
                          </a:rPr>
                          <m:t>2</m:t>
                        </m:r>
                      </m:den>
                    </m:f>
                    <m:r>
                      <a:rPr lang="en-US" sz="1300" b="0" i="1" smtClean="0">
                        <a:latin typeface="Cambria Math"/>
                      </a:rPr>
                      <m:t>𝐴𝐶</m:t>
                    </m:r>
                    <m:r>
                      <a:rPr lang="en-US" sz="1300" b="0" i="1" smtClean="0">
                        <a:latin typeface="Cambria Math"/>
                      </a:rPr>
                      <m:t>=6</m:t>
                    </m:r>
                    <m:rad>
                      <m:radPr>
                        <m:degHide m:val="on"/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sz="1300" b="0" i="1" smtClean="0">
                            <a:latin typeface="Cambria Math"/>
                          </a:rPr>
                          <m:t>3</m:t>
                        </m:r>
                      </m:e>
                    </m:rad>
                    <m:r>
                      <a:rPr lang="en-US" sz="1300" b="0" i="1" smtClean="0">
                        <a:latin typeface="Cambria Math"/>
                      </a:rPr>
                      <m:t>;</m:t>
                    </m:r>
                  </m:oMath>
                </a14:m>
                <a:endParaRPr lang="en-US" sz="1300" dirty="0"/>
              </a:p>
              <a:p>
                <a:r>
                  <a:rPr lang="ru-RU" sz="1300" b="1" i="1" dirty="0"/>
                  <a:t>Вариант </a:t>
                </a:r>
                <a:r>
                  <a:rPr lang="en-US" sz="1300" b="1" i="1" dirty="0"/>
                  <a:t>2</a:t>
                </a:r>
                <a:r>
                  <a:rPr lang="ru-RU" sz="1300" b="1" i="1" dirty="0"/>
                  <a:t>:</a:t>
                </a:r>
                <a:endParaRPr lang="en-US" sz="1300" b="1" i="1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ru-RU" sz="1300" i="1" smtClean="0">
                          <a:latin typeface="Cambria Math"/>
                          <a:ea typeface="Cambria Math"/>
                        </a:rPr>
                        <m:t>∆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𝐾𝑀𝐵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~∆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𝐴𝐶𝐷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, 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𝑘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  <a:ea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300" b="0" i="1" smtClean="0">
                              <a:latin typeface="Cambria Math"/>
                              <a:ea typeface="Cambria Math"/>
                            </a:rPr>
                            <m:t>2</m:t>
                          </m:r>
                        </m:den>
                      </m:f>
                    </m:oMath>
                  </m:oMathPara>
                </a14:m>
                <a:endParaRPr lang="ru-RU" sz="1300" b="0" i="1" dirty="0">
                  <a:ea typeface="Cambria Math"/>
                </a:endParaRPr>
              </a:p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300" b="0" i="1" smtClean="0">
                            <a:latin typeface="Cambria Math"/>
                          </a:rPr>
                          <m:t>𝑆</m:t>
                        </m:r>
                      </m:e>
                      <m:sub>
                        <m:r>
                          <a:rPr lang="en-US" sz="1300" b="0" i="1" smtClean="0">
                            <a:latin typeface="Cambria Math"/>
                          </a:rPr>
                          <m:t>𝐾𝑀𝐵</m:t>
                        </m:r>
                      </m:sub>
                    </m:sSub>
                    <m:r>
                      <a:rPr lang="en-US" sz="1300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ad>
                          <m:radPr>
                            <m:degHide m:val="on"/>
                            <m:ctrlPr>
                              <a:rPr lang="en-US" sz="1300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300" b="0" i="1" smtClean="0">
                                <a:latin typeface="Cambria Math"/>
                              </a:rPr>
                              <m:t>3</m:t>
                            </m:r>
                          </m:e>
                        </m:rad>
                      </m:num>
                      <m:den>
                        <m:r>
                          <a:rPr lang="en-US" sz="1300" b="0" i="1" smtClean="0">
                            <a:latin typeface="Cambria Math"/>
                          </a:rPr>
                          <m:t>4</m:t>
                        </m:r>
                      </m:den>
                    </m:f>
                    <m:sSup>
                      <m:sSup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</a:rPr>
                          <m:t>𝑎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300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en-US" sz="1300" b="0" i="1" smtClean="0">
                            <a:latin typeface="Cambria Math"/>
                          </a:rPr>
                          <m:t>4</m:t>
                        </m:r>
                      </m:den>
                    </m:f>
                    <m:r>
                      <a:rPr lang="en-US" sz="1300" b="0" i="1" smtClean="0">
                        <a:latin typeface="Cambria Math"/>
                        <a:ea typeface="Cambria Math"/>
                      </a:rPr>
                      <m:t>∙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fPr>
                      <m:num>
                        <m:r>
                          <a:rPr lang="en-US" sz="1300" b="0" i="1" smtClean="0">
                            <a:latin typeface="Cambria Math"/>
                            <a:ea typeface="Cambria Math"/>
                          </a:rPr>
                          <m:t>3</m:t>
                        </m:r>
                        <m:rad>
                          <m:radPr>
                            <m:degHide m:val="on"/>
                            <m:ctrlPr>
                              <a:rPr lang="en-US" sz="1300" b="0" i="1" smtClean="0">
                                <a:latin typeface="Cambria Math" panose="02040503050406030204" pitchFamily="18" charset="0"/>
                                <a:ea typeface="Cambria Math"/>
                              </a:rPr>
                            </m:ctrlPr>
                          </m:radPr>
                          <m:deg/>
                          <m:e>
                            <m:r>
                              <a:rPr lang="en-US" sz="1300" b="0" i="1" smtClean="0">
                                <a:latin typeface="Cambria Math"/>
                                <a:ea typeface="Cambria Math"/>
                              </a:rPr>
                              <m:t>3</m:t>
                            </m:r>
                          </m:e>
                        </m:rad>
                      </m:num>
                      <m:den>
                        <m:r>
                          <a:rPr lang="en-US" sz="1300" b="0" i="1" smtClean="0">
                            <a:latin typeface="Cambria Math"/>
                            <a:ea typeface="Cambria Math"/>
                          </a:rPr>
                          <m:t>4</m:t>
                        </m:r>
                      </m:den>
                    </m:f>
                    <m:sSup>
                      <m:sSupPr>
                        <m:ctrlPr>
                          <a:rPr lang="en-US" sz="1300" b="0" i="1" smtClean="0">
                            <a:latin typeface="Cambria Math" panose="02040503050406030204" pitchFamily="18" charset="0"/>
                            <a:ea typeface="Cambria Math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  <a:ea typeface="Cambria Math"/>
                          </a:rPr>
                          <m:t>𝑅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  <a:ea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  <a:ea typeface="Cambria Math"/>
                      </a:rPr>
                      <m:t>;</m:t>
                    </m:r>
                  </m:oMath>
                </a14:m>
                <a:r>
                  <a:rPr lang="en-US" sz="1300" b="0" dirty="0">
                    <a:ea typeface="Cambria Math"/>
                  </a:rPr>
                  <a:t> </a:t>
                </a:r>
                <a14:m>
                  <m:oMath xmlns:m="http://schemas.openxmlformats.org/officeDocument/2006/math">
                    <m:r>
                      <a:rPr lang="en-US" sz="1300" b="0" i="0" smtClean="0">
                        <a:latin typeface="Cambria Math"/>
                      </a:rPr>
                      <m:t>    </m:t>
                    </m:r>
                    <m:r>
                      <a:rPr lang="en-US" sz="1300" b="0" i="1" smtClean="0">
                        <a:latin typeface="Cambria Math"/>
                      </a:rPr>
                      <m:t>𝑎</m:t>
                    </m:r>
                    <m:r>
                      <a:rPr lang="en-US" sz="1300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ad>
                          <m:radPr>
                            <m:degHide m:val="on"/>
                            <m:ctrlPr>
                              <a:rPr lang="en-US" sz="1300" b="0" i="1" smtClean="0">
                                <a:latin typeface="Cambria Math" panose="020405030504060302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en-US" sz="1300" b="0" i="1" smtClean="0">
                                <a:latin typeface="Cambria Math"/>
                              </a:rPr>
                              <m:t>3</m:t>
                            </m:r>
                          </m:e>
                        </m:rad>
                      </m:num>
                      <m:den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den>
                    </m:f>
                    <m:r>
                      <a:rPr lang="en-US" sz="1300" b="0" i="1" smtClean="0">
                        <a:latin typeface="Cambria Math"/>
                      </a:rPr>
                      <m:t>𝑅</m:t>
                    </m:r>
                    <m:r>
                      <a:rPr lang="en-US" sz="1300" b="0" i="1" smtClean="0">
                        <a:latin typeface="Cambria Math"/>
                      </a:rPr>
                      <m:t>;</m:t>
                    </m:r>
                    <m:r>
                      <a:rPr lang="en-US" sz="1300" b="0" i="1" smtClean="0">
                        <a:latin typeface="Cambria Math"/>
                      </a:rPr>
                      <m:t>𝑎</m:t>
                    </m:r>
                    <m:r>
                      <a:rPr lang="en-US" sz="1300" b="0" i="1" smtClean="0">
                        <a:latin typeface="Cambria Math"/>
                      </a:rPr>
                      <m:t>=6</m:t>
                    </m:r>
                    <m:rad>
                      <m:radPr>
                        <m:degHide m:val="on"/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radPr>
                      <m:deg/>
                      <m:e>
                        <m:r>
                          <a:rPr lang="en-US" sz="1300" b="0" i="1" smtClean="0">
                            <a:latin typeface="Cambria Math"/>
                          </a:rPr>
                          <m:t>3</m:t>
                        </m:r>
                      </m:e>
                    </m:rad>
                    <m:r>
                      <a:rPr lang="en-US" sz="1300" b="0" i="1" smtClean="0">
                        <a:latin typeface="Cambria Math"/>
                        <a:ea typeface="Cambria Math"/>
                      </a:rPr>
                      <m:t>≈10,38.</m:t>
                    </m:r>
                  </m:oMath>
                </a14:m>
                <a:endParaRPr lang="en-US" sz="1300" dirty="0"/>
              </a:p>
              <a:p>
                <a:r>
                  <a:rPr lang="ru-RU" sz="1300" b="1" i="1" dirty="0"/>
                  <a:t>Вариант </a:t>
                </a:r>
                <a:r>
                  <a:rPr lang="en-US" sz="1300" b="1" i="1" dirty="0"/>
                  <a:t>3</a:t>
                </a:r>
                <a:r>
                  <a:rPr lang="ru-RU" sz="1300" b="1" i="1" dirty="0"/>
                  <a:t>:</a:t>
                </a:r>
                <a:endParaRPr lang="en-US" sz="1300" b="1" i="1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300" i="1" smtClean="0">
                          <a:latin typeface="Cambria Math"/>
                          <a:ea typeface="Cambria Math"/>
                        </a:rPr>
                        <m:t>∆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𝐴𝐶𝐷</m:t>
                      </m:r>
                      <m:r>
                        <a:rPr lang="ru-RU" sz="1300" b="0" i="1" smtClean="0">
                          <a:latin typeface="Cambria Math"/>
                          <a:ea typeface="Cambria Math"/>
                        </a:rPr>
                        <m:t> −равносторонний: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𝐶𝐵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smtClean="0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  <a:ea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300" b="0" i="1" smtClean="0">
                              <a:latin typeface="Cambria Math"/>
                              <a:ea typeface="Cambria Math"/>
                            </a:rPr>
                            <m:t>2</m:t>
                          </m:r>
                        </m:den>
                      </m:f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𝐶𝐷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i="1">
                              <a:latin typeface="Cambria Math" panose="02040503050406030204" pitchFamily="18" charset="0"/>
                              <a:ea typeface="Cambria Math"/>
                            </a:rPr>
                          </m:ctrlPr>
                        </m:fPr>
                        <m:num>
                          <m:r>
                            <a:rPr lang="en-US" sz="1300" i="1">
                              <a:latin typeface="Cambria Math"/>
                              <a:ea typeface="Cambria Math"/>
                            </a:rPr>
                            <m:t>1</m:t>
                          </m:r>
                        </m:num>
                        <m:den>
                          <m:r>
                            <a:rPr lang="en-US" sz="1300" i="1">
                              <a:latin typeface="Cambria Math"/>
                              <a:ea typeface="Cambria Math"/>
                            </a:rPr>
                            <m:t>2</m:t>
                          </m:r>
                        </m:den>
                      </m:f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𝐴𝐶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;</m:t>
                      </m:r>
                    </m:oMath>
                  </m:oMathPara>
                </a14:m>
                <a:endParaRPr lang="en-US" sz="1300" b="0" dirty="0">
                  <a:ea typeface="Cambria Math"/>
                </a:endParaRPr>
              </a:p>
              <a:p>
                <a:r>
                  <a:rPr lang="en-US" sz="1300" dirty="0"/>
                  <a:t>AB – </a:t>
                </a:r>
                <a:r>
                  <a:rPr lang="ru-RU" sz="1300" dirty="0"/>
                  <a:t>медиана, </a:t>
                </a:r>
                <a:r>
                  <a:rPr lang="en-US" sz="1300" dirty="0"/>
                  <a:t>O</a:t>
                </a:r>
                <a:r>
                  <a:rPr lang="ru-RU" sz="1300" dirty="0"/>
                  <a:t> – точка пересечения медиан, </a:t>
                </a:r>
                <a:endParaRPr lang="ru-RU" sz="1300" i="1" dirty="0">
                  <a:latin typeface="Cambria Math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US" sz="1300" i="1" dirty="0" smtClean="0">
                          <a:latin typeface="Cambria Math"/>
                        </a:rPr>
                        <m:t>𝐴𝑂</m:t>
                      </m:r>
                      <m:r>
                        <a:rPr lang="en-US" sz="1300" b="0" i="1" dirty="0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dirty="0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300" b="0" i="1" dirty="0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>
                            <a:rPr lang="en-US" sz="1300" b="0" i="1" dirty="0" smtClean="0">
                              <a:latin typeface="Cambria Math"/>
                            </a:rPr>
                            <m:t>3</m:t>
                          </m:r>
                        </m:den>
                      </m:f>
                      <m:r>
                        <a:rPr lang="en-US" sz="1300" b="0" i="1" dirty="0" smtClean="0">
                          <a:latin typeface="Cambria Math"/>
                        </a:rPr>
                        <m:t>𝐴𝐵</m:t>
                      </m:r>
                      <m:r>
                        <a:rPr lang="en-US" sz="1300" b="0" i="1" dirty="0" smtClean="0">
                          <a:latin typeface="Cambria Math"/>
                        </a:rPr>
                        <m:t>;так как </m:t>
                      </m:r>
                      <m:r>
                        <a:rPr lang="en-US" sz="1300" b="0" i="1" dirty="0" smtClean="0">
                          <a:latin typeface="Cambria Math"/>
                        </a:rPr>
                        <m:t>𝐴𝑂</m:t>
                      </m:r>
                      <m:r>
                        <a:rPr lang="en-US" sz="1300" b="0" i="1" dirty="0" smtClean="0">
                          <a:latin typeface="Cambria Math"/>
                        </a:rPr>
                        <m:t>=12 см, то </m:t>
                      </m:r>
                      <m:r>
                        <a:rPr lang="en-US" sz="1300" b="0" i="1" dirty="0" smtClean="0">
                          <a:latin typeface="Cambria Math"/>
                        </a:rPr>
                        <m:t>𝐴𝐵</m:t>
                      </m:r>
                      <m:r>
                        <a:rPr lang="en-US" sz="1300" b="0" i="1" dirty="0" smtClean="0">
                          <a:latin typeface="Cambria Math"/>
                        </a:rPr>
                        <m:t>=18 см.</m:t>
                      </m:r>
                    </m:oMath>
                  </m:oMathPara>
                </a14:m>
                <a:endParaRPr lang="ru-RU" sz="1300" dirty="0"/>
              </a:p>
              <a:p>
                <a:r>
                  <a:rPr lang="ru-RU" sz="1300" dirty="0"/>
                  <a:t>По теореме Пифагора:</a:t>
                </a:r>
                <a:r>
                  <a:rPr lang="en-US" sz="1300" dirty="0"/>
                  <a:t> 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ru-RU" sz="130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</a:rPr>
                          <m:t>𝐴𝐶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</a:rPr>
                      <m:t>=</m:t>
                    </m:r>
                    <m:f>
                      <m:f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300" b="0" i="1" smtClean="0">
                            <a:latin typeface="Cambria Math"/>
                          </a:rPr>
                          <m:t>1</m:t>
                        </m:r>
                      </m:num>
                      <m:den>
                        <m:r>
                          <a:rPr lang="en-US" sz="1300" b="0" i="1" smtClean="0">
                            <a:latin typeface="Cambria Math"/>
                          </a:rPr>
                          <m:t>4</m:t>
                        </m:r>
                      </m:den>
                    </m:f>
                    <m:sSup>
                      <m:sSup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</a:rPr>
                          <m:t>𝐴𝐶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</a:rPr>
                      <m:t>+</m:t>
                    </m:r>
                    <m:sSup>
                      <m:sSupPr>
                        <m:ctrlPr>
                          <a:rPr lang="en-US" sz="1300" b="0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sz="1300" b="0" i="1" smtClean="0">
                            <a:latin typeface="Cambria Math"/>
                          </a:rPr>
                          <m:t>𝐴𝐵</m:t>
                        </m:r>
                      </m:e>
                      <m:sup>
                        <m:r>
                          <a:rPr lang="en-US" sz="1300" b="0" i="1" smtClean="0">
                            <a:latin typeface="Cambria Math"/>
                          </a:rPr>
                          <m:t>2</m:t>
                        </m:r>
                      </m:sup>
                    </m:sSup>
                    <m:r>
                      <a:rPr lang="en-US" sz="1300" b="0" i="1" smtClean="0">
                        <a:latin typeface="Cambria Math"/>
                      </a:rPr>
                      <m:t>;</m:t>
                    </m:r>
                  </m:oMath>
                </a14:m>
                <a:endParaRPr lang="en-US" sz="1300" b="0" dirty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sz="130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</a:rPr>
                            <m:t>3</m:t>
                          </m:r>
                        </m:num>
                        <m:den>
                          <m:r>
                            <a:rPr lang="en-US" sz="1300" b="0" i="1" smtClean="0">
                              <a:latin typeface="Cambria Math"/>
                            </a:rPr>
                            <m:t>4</m:t>
                          </m:r>
                        </m:den>
                      </m:f>
                      <m:sSup>
                        <m:sSupPr>
                          <m:ctrlPr>
                            <a:rPr lang="ru-RU" sz="130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300" b="0" i="1" smtClean="0">
                              <a:latin typeface="Cambria Math"/>
                            </a:rPr>
                            <m:t>𝐴𝐶</m:t>
                          </m:r>
                        </m:e>
                        <m:sup>
                          <m:r>
                            <a:rPr lang="en-US" sz="13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sz="1300" b="0" i="1" smtClean="0">
                          <a:latin typeface="Cambria Math"/>
                        </a:rPr>
                        <m:t>=</m:t>
                      </m:r>
                      <m:sSup>
                        <m:sSupPr>
                          <m:ctrlPr>
                            <a:rPr lang="en-US" sz="1300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en-US" sz="1300" b="0" i="1" smtClean="0">
                              <a:latin typeface="Cambria Math"/>
                            </a:rPr>
                            <m:t>𝐴𝐵</m:t>
                          </m:r>
                        </m:e>
                        <m:sup>
                          <m:r>
                            <a:rPr lang="en-US" sz="1300" b="0" i="1" smtClean="0">
                              <a:latin typeface="Cambria Math"/>
                            </a:rPr>
                            <m:t>2</m:t>
                          </m:r>
                        </m:sup>
                      </m:sSup>
                      <m:r>
                        <a:rPr lang="en-US" sz="1300" b="0" i="1" smtClean="0">
                          <a:latin typeface="Cambria Math"/>
                        </a:rPr>
                        <m:t>;</m:t>
                      </m:r>
                      <m:r>
                        <a:rPr lang="en-US" sz="1300" b="0" i="1" smtClean="0">
                          <a:latin typeface="Cambria Math"/>
                        </a:rPr>
                        <m:t>𝐴𝐶</m:t>
                      </m:r>
                      <m:r>
                        <a:rPr lang="en-US" sz="13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</a:rPr>
                            <m:t>2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3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1300" b="0" i="1" smtClean="0">
                                  <a:latin typeface="Cambria Math"/>
                                </a:rPr>
                                <m:t>3</m:t>
                              </m:r>
                            </m:e>
                          </m:rad>
                        </m:den>
                      </m:f>
                      <m:r>
                        <a:rPr lang="en-US" sz="1300" b="0" i="1" smtClean="0">
                          <a:latin typeface="Cambria Math"/>
                        </a:rPr>
                        <m:t>𝐴𝐵</m:t>
                      </m:r>
                      <m:r>
                        <a:rPr lang="en-US" sz="1300" b="0" i="1" smtClean="0"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n-US" sz="13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300" b="0" i="1" smtClean="0">
                              <a:latin typeface="Cambria Math"/>
                            </a:rPr>
                            <m:t>36</m:t>
                          </m:r>
                        </m:num>
                        <m:den>
                          <m:rad>
                            <m:radPr>
                              <m:degHide m:val="on"/>
                              <m:ctrlPr>
                                <a:rPr lang="en-US" sz="1300" b="0" i="1" smtClean="0">
                                  <a:latin typeface="Cambria Math" panose="02040503050406030204" pitchFamily="18" charset="0"/>
                                </a:rPr>
                              </m:ctrlPr>
                            </m:radPr>
                            <m:deg/>
                            <m:e>
                              <m:r>
                                <a:rPr lang="en-US" sz="1300" b="0" i="1" smtClean="0">
                                  <a:latin typeface="Cambria Math"/>
                                </a:rPr>
                                <m:t>3</m:t>
                              </m:r>
                            </m:e>
                          </m:rad>
                        </m:den>
                      </m:f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≈</m:t>
                      </m:r>
                      <m:r>
                        <a:rPr lang="ru-RU" sz="1300" b="0" i="1" smtClean="0">
                          <a:latin typeface="Cambria Math"/>
                          <a:ea typeface="Cambria Math"/>
                        </a:rPr>
                        <m:t>20,8;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𝐶𝐵</m:t>
                      </m:r>
                      <m:r>
                        <a:rPr lang="en-US" sz="1300" b="0" i="1" smtClean="0">
                          <a:latin typeface="Cambria Math"/>
                          <a:ea typeface="Cambria Math"/>
                        </a:rPr>
                        <m:t>≈10,4</m:t>
                      </m:r>
                    </m:oMath>
                  </m:oMathPara>
                </a14:m>
                <a:endParaRPr lang="ru-RU" sz="1300" dirty="0"/>
              </a:p>
            </p:txBody>
          </p:sp>
        </mc:Choice>
        <mc:Fallback xmlns="">
          <p:sp>
            <p:nvSpPr>
              <p:cNvPr id="3" name="Прямоугольник 2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17909" y="474445"/>
                <a:ext cx="4771040" cy="5116593"/>
              </a:xfrm>
              <a:prstGeom prst="rect">
                <a:avLst/>
              </a:prstGeom>
              <a:blipFill rotWithShape="1">
                <a:blip r:embed="rId11"/>
                <a:stretch>
                  <a:fillRect l="-256" t="-119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Прямоугольник 3"/>
          <p:cNvSpPr/>
          <p:nvPr/>
        </p:nvSpPr>
        <p:spPr>
          <a:xfrm>
            <a:off x="6092949" y="5521675"/>
            <a:ext cx="5964896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b="1" dirty="0"/>
              <a:t>2. </a:t>
            </a:r>
            <a:r>
              <a:rPr lang="ru-RU" sz="1300" dirty="0"/>
              <a:t>Равносторонний треугольник</a:t>
            </a:r>
            <a:r>
              <a:rPr lang="en-US" sz="1300" dirty="0"/>
              <a:t> </a:t>
            </a:r>
            <a:r>
              <a:rPr lang="ru-RU" sz="1300" dirty="0"/>
              <a:t>можно расположить по стороне квадрата. Можно ли расположить заданный равносторонний треугольник внутри квадрата с меньшей длиной стороны? При расположении выше две вершины</a:t>
            </a:r>
            <a:r>
              <a:rPr lang="en-US" sz="1300" dirty="0"/>
              <a:t> </a:t>
            </a:r>
            <a:r>
              <a:rPr lang="ru-RU" sz="1300" dirty="0"/>
              <a:t>треугольника лежат на границе</a:t>
            </a:r>
            <a:r>
              <a:rPr lang="en-US" sz="1300" dirty="0"/>
              <a:t> </a:t>
            </a:r>
            <a:r>
              <a:rPr lang="ru-RU" sz="1300" dirty="0"/>
              <a:t>квадрата, а третья — внутри.</a:t>
            </a:r>
            <a:r>
              <a:rPr lang="en-US" sz="1300" dirty="0"/>
              <a:t> </a:t>
            </a:r>
            <a:r>
              <a:rPr lang="ru-RU" sz="1300" dirty="0"/>
              <a:t>Расположим все три вершины</a:t>
            </a:r>
            <a:r>
              <a:rPr lang="en-US" sz="1300" dirty="0"/>
              <a:t> </a:t>
            </a:r>
            <a:r>
              <a:rPr lang="ru-RU" sz="1300" dirty="0"/>
              <a:t>на границе квадрата.</a:t>
            </a:r>
          </a:p>
        </p:txBody>
      </p:sp>
      <p:pic>
        <p:nvPicPr>
          <p:cNvPr id="108550" name="Picture 6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957" y="4119916"/>
            <a:ext cx="1302507" cy="1310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Box 39"/>
          <p:cNvSpPr txBox="1"/>
          <p:nvPr/>
        </p:nvSpPr>
        <p:spPr>
          <a:xfrm>
            <a:off x="6204733" y="837562"/>
            <a:ext cx="3536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FF0000"/>
                </a:solidFill>
                <a:sym typeface="Wingdings 2"/>
              </a:rPr>
              <a:t>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2094" y="1292900"/>
            <a:ext cx="5584781" cy="189282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ru-RU" sz="1300" b="1" dirty="0"/>
              <a:t>2 балла </a:t>
            </a:r>
            <a:r>
              <a:rPr lang="ru-RU" sz="1300" dirty="0"/>
              <a:t>— дан верный ответ и приведено верное решение, в котором: найдена длина стороны свёрнутого «кармашком» блина; выбрано расположение блина в квадратной коробке, удовлетворяющее условиям минимизации; определены стороны коробки, подходящей заданным условиям, и сделан верный выбор;</a:t>
            </a:r>
          </a:p>
          <a:p>
            <a:r>
              <a:rPr lang="ru-RU" sz="1300" b="1" dirty="0"/>
              <a:t>1 балл </a:t>
            </a:r>
            <a:r>
              <a:rPr lang="ru-RU" sz="1300" dirty="0"/>
              <a:t>— дан верный ответ, но в обосновании не рассмотрен вариант</a:t>
            </a:r>
          </a:p>
          <a:p>
            <a:r>
              <a:rPr lang="ru-RU" sz="1300" dirty="0"/>
              <a:t>минимизации стороны коробки;</a:t>
            </a:r>
          </a:p>
          <a:p>
            <a:r>
              <a:rPr lang="ru-RU" sz="1300" b="1" dirty="0"/>
              <a:t>0 баллов </a:t>
            </a:r>
            <a:r>
              <a:rPr lang="ru-RU" sz="1300" dirty="0"/>
              <a:t>— дан другой ответ, приведено неверное решение ИЛИ решение отсутствует</a:t>
            </a:r>
          </a:p>
        </p:txBody>
      </p:sp>
    </p:spTree>
    <p:extLst>
      <p:ext uri="{BB962C8B-B14F-4D97-AF65-F5344CB8AC3E}">
        <p14:creationId xmlns:p14="http://schemas.microsoft.com/office/powerpoint/2010/main" val="2418003367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779828" y="216591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  <a:hlinkClick r:id="rId3"/>
              </a:rPr>
              <a:t>Математическая грамотность. Полезные материалы</a:t>
            </a:r>
            <a:endParaRPr lang="ru-RU" sz="2133" b="1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Рисунок 33">
            <a:hlinkClick r:id="rId4"/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594" y="828733"/>
            <a:ext cx="2045253" cy="271782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1682" name="Picture 2" descr="http://qrcoder.ru/code/?https%3A%2F%2Fshop.prosv.ru%2Fsearch%3Fq%3D%25D0%259C%25D0%25B0%25D1%2582%25D0%25B5%25D0%25BC%25D0%25B0%25D1%2582%25D0%25B8%25D1%2587%25D0%25B5%25D1%2581%25D0%25BA%25D0%25B0%25D1%258F%2B%25D0%25B3%25D1%2580%25D0%25B0%25D0%25BC%25D0%25BE%25D1%2582%25D0%25BD%25D0%25BE%25D1%2581%25D1%2582%25D1%258C&amp;4&amp;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769" y="4101563"/>
            <a:ext cx="1893078" cy="18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4" name="Picture 4" descr="Изображение Математическая грамотность. Сборник эталонных заданий. Выпуск 1. Часть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7278" y="848593"/>
            <a:ext cx="2025619" cy="26781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6" name="Picture 6" descr="Изображение Математическая грамотность. Сборник эталонных заданий. Выпуск 1. Часть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860" y="848592"/>
            <a:ext cx="2025620" cy="26781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88" name="Picture 8" descr="Изображение Математическая грамотность. Сборник эталонных заданий. Выпуск 2. Часть 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2954" y="3699688"/>
            <a:ext cx="2079245" cy="27424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690" name="Picture 10" descr="Изображение Математическая грамотность. Сборник эталонных заданий. Выпуск 2. Часть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639" y="3699687"/>
            <a:ext cx="2079245" cy="27424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753355" y="449652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108147" y="3397011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8639899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TextBox 58"/>
          <p:cNvSpPr txBox="1"/>
          <p:nvPr/>
        </p:nvSpPr>
        <p:spPr>
          <a:xfrm>
            <a:off x="1779828" y="218874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есурсы для подготовки к PISA 2022</a:t>
            </a:r>
          </a:p>
        </p:txBody>
      </p:sp>
      <p:sp>
        <p:nvSpPr>
          <p:cNvPr id="60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Группа 6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7" name="Прямая соединительная линия 7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5" name="Прямоугольник 34"/>
          <p:cNvSpPr/>
          <p:nvPr/>
        </p:nvSpPr>
        <p:spPr>
          <a:xfrm>
            <a:off x="-3051" y="889564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6" name="TextBox 35"/>
          <p:cNvSpPr txBox="1"/>
          <p:nvPr/>
        </p:nvSpPr>
        <p:spPr>
          <a:xfrm>
            <a:off x="1753355" y="1072930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1315702" y="2078387"/>
            <a:ext cx="4664968" cy="2078518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  <a:hlinkClick r:id="rId3"/>
              </a:rPr>
              <a:t>Серия «Функциональная грамотность. Учимся для жизни (5-9)»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  <a:hlinkClick r:id="rId4"/>
              </a:rPr>
              <a:t>Серия «Функциональная грамотность. Тренажеры (5-9)»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  <a:hlinkClick r:id="rId5"/>
              </a:rPr>
              <a:t>Серия «ФГОС. Оценка образовательных достижений»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6227805" y="889564"/>
            <a:ext cx="5967246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1" name="TextBox 40"/>
          <p:cNvSpPr txBox="1"/>
          <p:nvPr/>
        </p:nvSpPr>
        <p:spPr>
          <a:xfrm>
            <a:off x="7964445" y="1072930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7" y="1987687"/>
            <a:ext cx="728841" cy="728841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" y="2868149"/>
            <a:ext cx="726248" cy="698047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8"/>
          <a:srcRect l="14692" t="20657" r="22083" b="16289"/>
          <a:stretch/>
        </p:blipFill>
        <p:spPr>
          <a:xfrm>
            <a:off x="175355" y="3760747"/>
            <a:ext cx="1057109" cy="478690"/>
          </a:xfrm>
          <a:prstGeom prst="rect">
            <a:avLst/>
          </a:prstGeom>
        </p:spPr>
      </p:pic>
      <p:sp>
        <p:nvSpPr>
          <p:cNvPr id="47" name="Прямоугольник 46"/>
          <p:cNvSpPr/>
          <p:nvPr/>
        </p:nvSpPr>
        <p:spPr>
          <a:xfrm>
            <a:off x="6818811" y="2072842"/>
            <a:ext cx="4493972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PISA </a:t>
            </a: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</a:p>
        </p:txBody>
      </p:sp>
      <p:pic>
        <p:nvPicPr>
          <p:cNvPr id="48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78541" y="3264185"/>
            <a:ext cx="4634242" cy="231712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1" name="Прямоугольник 50">
            <a:hlinkClick r:id="rId10"/>
          </p:cNvPr>
          <p:cNvSpPr/>
          <p:nvPr/>
        </p:nvSpPr>
        <p:spPr>
          <a:xfrm>
            <a:off x="8091576" y="5767453"/>
            <a:ext cx="1682151" cy="640954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/>
              <a:t>ОТКРЫТЬ БАНК ЗАДАНИЙ</a:t>
            </a: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444" y="4469388"/>
            <a:ext cx="1409700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2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48421" y="6172800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404226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895323" y="1085439"/>
            <a:ext cx="4709664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под 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97715" y="1853863"/>
            <a:ext cx="5376222" cy="3692293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редназначены для формирования и оценки всех направлений функциональной грамотности международного сравнительного исследования PISA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одержат обучающие и тренировочные задания, охватывающие все содержательные и компетентностные 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грамотности.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88" y="1234141"/>
            <a:ext cx="1606191" cy="217650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736" y="1190172"/>
            <a:ext cx="1602880" cy="216603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916" y="1339215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779828" y="216591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  <a:hlinkClick r:id="rId6"/>
              </a:rPr>
              <a:t>Серия «ФУНКЦИОНАЛЬНАЯ ГРАМОТНОСТЬ. УЧИМСЯ ДЛЯ ЖИЗНИ»</a:t>
            </a:r>
            <a:endParaRPr lang="ru-RU" sz="2000" b="1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032" y="1237024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44" y="4007559"/>
            <a:ext cx="1587500" cy="20955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7466" y="4109750"/>
            <a:ext cx="1682115" cy="221996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3765" y="4018480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0327" y="4079586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5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9567" y="5356173"/>
            <a:ext cx="1090816" cy="109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3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299640" y="449652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608368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9" name="TextBox 48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ФУНКЦИОНАЛЬНАЯ ГРАМОТНОСТЬ.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b="1" dirty="0">
                <a:solidFill>
                  <a:schemeClr val="tx1">
                    <a:lumMod val="95000"/>
                    <a:lumOff val="5000"/>
                  </a:schemeClr>
                </a:solidFill>
                <a:latin typeface="+mj-lt"/>
                <a:ea typeface="Open Sans" pitchFamily="34" charset="0"/>
                <a:cs typeface="Open Sans" pitchFamily="34" charset="0"/>
              </a:rPr>
              <a:t>ТРЕНАЖЁРЫ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8" name="TextBox 57"/>
          <p:cNvSpPr txBox="1"/>
          <p:nvPr/>
        </p:nvSpPr>
        <p:spPr>
          <a:xfrm>
            <a:off x="1779828" y="219200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  <a:hlinkClick r:id="rId2"/>
              </a:rPr>
              <a:t>Серия «ФУНКЦИОНАЛЬНАЯ ГРАМОТНОСТЬ. ТРЕНАЖЁРЫ»</a:t>
            </a:r>
            <a:endParaRPr lang="ru-RU" sz="2000" b="1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4876" y="2135846"/>
            <a:ext cx="5241524" cy="3206455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.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6080329" y="1313530"/>
            <a:ext cx="5783653" cy="5036581"/>
            <a:chOff x="6314066" y="1335792"/>
            <a:chExt cx="5400141" cy="47026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692" y="3757717"/>
              <a:ext cx="1716291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36" t="16157" r="1798" b="8646"/>
            <a:stretch/>
          </p:blipFill>
          <p:spPr bwMode="auto">
            <a:xfrm>
              <a:off x="6314066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8" t="16909" r="1975" b="9232"/>
            <a:stretch/>
          </p:blipFill>
          <p:spPr bwMode="auto">
            <a:xfrm>
              <a:off x="6314066" y="3757717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6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95" t="16238" r="2007" b="8767"/>
            <a:stretch/>
          </p:blipFill>
          <p:spPr bwMode="auto">
            <a:xfrm>
              <a:off x="8157640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1213" y="1335792"/>
              <a:ext cx="1712994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7916" y="3757717"/>
              <a:ext cx="1716291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</p:grpSp>
      <p:pic>
        <p:nvPicPr>
          <p:cNvPr id="34" name="Picture 87" descr="http://qrcoder.ru/code/?https%3A%2F%2Fshop.prosv.ru%2Fsearch%3Fq%3D%25D1%2582%25D1%2580%25D0%25B5%25D0%25BD%25D0%25B0%25D0%25B6%23%2Forderby%3D1%26q%3D%25D1%2582%25D1%2580%25D0%25B5%25D0%25BD%25D0%25B0%25D0%25B6%26sFilters%3D21%2156334%3B13%2167611%3B&amp;4&amp;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159" y="5326921"/>
            <a:ext cx="1084736" cy="10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2299640" y="449652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0177319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TextBox 57"/>
          <p:cNvSpPr txBox="1"/>
          <p:nvPr/>
        </p:nvSpPr>
        <p:spPr>
          <a:xfrm>
            <a:off x="1803532" y="93121"/>
            <a:ext cx="1002938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  <a:hlinkClick r:id="rId2"/>
              </a:rPr>
              <a:t>Электронный Банк заданий по функциональной грамотности.</a:t>
            </a:r>
          </a:p>
          <a:p>
            <a:pPr>
              <a:lnSpc>
                <a:spcPct val="85000"/>
              </a:lnSpc>
              <a:defRPr/>
            </a:pPr>
            <a:r>
              <a:rPr lang="ru-RU" sz="2000" b="1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  <a:hlinkClick r:id="rId2"/>
              </a:rPr>
              <a:t>Удобно, доступно, эффективно</a:t>
            </a:r>
            <a:endParaRPr lang="ru-RU" sz="2000" b="1" dirty="0">
              <a:solidFill>
                <a:srgbClr val="2D2B8D"/>
              </a:solidFill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3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4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563804" y="601300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7" y="1045376"/>
            <a:ext cx="6378706" cy="45962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3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2616" y="884554"/>
            <a:ext cx="4006431" cy="52769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32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3355" y="5110432"/>
            <a:ext cx="1276350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13715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бота с ситуацией (контекстом)</a:t>
            </a:r>
            <a:endParaRPr lang="ru-RU" sz="2000" dirty="0"/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194" y="5402658"/>
            <a:ext cx="257175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8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58"/>
          <a:stretch/>
        </p:blipFill>
        <p:spPr bwMode="auto">
          <a:xfrm>
            <a:off x="3520297" y="4785277"/>
            <a:ext cx="2724150" cy="401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8349" y="4228293"/>
            <a:ext cx="2400300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0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4289" y="3646960"/>
            <a:ext cx="3114675" cy="42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4" descr="Изображение Математическая грамотность. Сборник эталонных заданий. Выпуск 1. Часть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716" y="2394840"/>
            <a:ext cx="2025619" cy="26781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6" descr="Изображение Математическая грамотность. Сборник эталонных заданий. Выпуск 1. Часть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255" y="1901178"/>
            <a:ext cx="2025620" cy="267810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8" descr="Изображение Математическая грамотность. Сборник эталонных заданий. Выпуск 2. Часть 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360" y="1333176"/>
            <a:ext cx="2079245" cy="27424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" descr="Изображение Математическая грамотность. Сборник эталонных заданий. Выпуск 2. Часть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96734" y="757902"/>
            <a:ext cx="2079245" cy="27424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51815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0" y="583046"/>
            <a:ext cx="2122096" cy="3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77" y="956071"/>
            <a:ext cx="5810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51" y="1314966"/>
            <a:ext cx="6082193" cy="129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6" y="2613804"/>
            <a:ext cx="4451949" cy="202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7" y="4812640"/>
            <a:ext cx="5945955" cy="9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486587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1933381" y="183397"/>
            <a:ext cx="725375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Разбор заданий</a:t>
            </a:r>
            <a:endParaRPr lang="ru-RU" sz="2000" dirty="0"/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4300" y="583046"/>
            <a:ext cx="2122096" cy="37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6077" y="956071"/>
            <a:ext cx="5810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51" y="1314966"/>
            <a:ext cx="6082193" cy="1298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7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6" y="2613804"/>
            <a:ext cx="4451949" cy="2026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75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7" y="4812640"/>
            <a:ext cx="5945955" cy="9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7010" y="769558"/>
            <a:ext cx="4685581" cy="2032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2208362" y="5952226"/>
            <a:ext cx="16968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Ответ. 2 класс</a:t>
            </a:r>
          </a:p>
        </p:txBody>
      </p:sp>
    </p:spTree>
    <p:extLst>
      <p:ext uri="{BB962C8B-B14F-4D97-AF65-F5344CB8AC3E}">
        <p14:creationId xmlns:p14="http://schemas.microsoft.com/office/powerpoint/2010/main" val="39499548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25</TotalTime>
  <Words>3143</Words>
  <Application>Microsoft Office PowerPoint</Application>
  <PresentationFormat>Широкоэкранный</PresentationFormat>
  <Paragraphs>494</Paragraphs>
  <Slides>68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8</vt:i4>
      </vt:variant>
    </vt:vector>
  </HeadingPairs>
  <TitlesOfParts>
    <vt:vector size="82" baseType="lpstr">
      <vt:lpstr>Arial</vt:lpstr>
      <vt:lpstr>Calibri</vt:lpstr>
      <vt:lpstr>Calibri Light</vt:lpstr>
      <vt:lpstr>Cambria Math</vt:lpstr>
      <vt:lpstr>Franklin Gothic Book</vt:lpstr>
      <vt:lpstr>Open Sans</vt:lpstr>
      <vt:lpstr>Open Sans Condensed</vt:lpstr>
      <vt:lpstr>Open Sans Condensed Light</vt:lpstr>
      <vt:lpstr>Open Sans Light</vt:lpstr>
      <vt:lpstr>Segoe Script</vt:lpstr>
      <vt:lpstr>Wingdings</vt:lpstr>
      <vt:lpstr>Wingdings 2</vt:lpstr>
      <vt:lpstr>Тема Office</vt:lpstr>
      <vt:lpstr>Слайд think-cell</vt:lpstr>
      <vt:lpstr>Презентация PowerPoint</vt:lpstr>
      <vt:lpstr>Презентация PowerPoint</vt:lpstr>
      <vt:lpstr>Модель математической грамотности. PISA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етинг</dc:creator>
  <cp:lastModifiedBy>Школа</cp:lastModifiedBy>
  <cp:revision>671</cp:revision>
  <dcterms:created xsi:type="dcterms:W3CDTF">2020-02-25T09:30:21Z</dcterms:created>
  <dcterms:modified xsi:type="dcterms:W3CDTF">2022-10-09T05:28:45Z</dcterms:modified>
</cp:coreProperties>
</file>